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5.xml" ContentType="application/vnd.openxmlformats-officedocument.theme+xml"/>
  <Override PartName="/ppt/tags/tag13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6.xml" ContentType="application/vnd.openxmlformats-officedocument.theme+xml"/>
  <Override PartName="/ppt/tags/tag14.xml" ContentType="application/vnd.openxmlformats-officedocument.presentationml.tags+xml"/>
  <Override PartName="/ppt/slideLayouts/slideLayout121.xml" ContentType="application/vnd.openxmlformats-officedocument.presentationml.slideLayout+xml"/>
  <Override PartName="/ppt/theme/theme7.xml" ContentType="application/vnd.openxmlformats-officedocument.theme+xml"/>
  <Override PartName="/ppt/tags/tag15.xml" ContentType="application/vnd.openxmlformats-officedocument.presentationml.tags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8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theme/theme9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theme/theme10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theme/theme11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12.xml" ContentType="application/vnd.openxmlformats-officedocument.theme+xml"/>
  <Override PartName="/ppt/theme/theme13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51" r:id="rId1"/>
    <p:sldMasterId id="2147483809" r:id="rId2"/>
    <p:sldMasterId id="2147483829" r:id="rId3"/>
    <p:sldMasterId id="2147483894" r:id="rId4"/>
    <p:sldMasterId id="2147483939" r:id="rId5"/>
    <p:sldMasterId id="2147483999" r:id="rId6"/>
    <p:sldMasterId id="2147484018" r:id="rId7"/>
    <p:sldMasterId id="2147484021" r:id="rId8"/>
    <p:sldMasterId id="2147484038" r:id="rId9"/>
    <p:sldMasterId id="2147484182" r:id="rId10"/>
    <p:sldMasterId id="2147484197" r:id="rId11"/>
  </p:sldMasterIdLst>
  <p:notesMasterIdLst>
    <p:notesMasterId r:id="rId18"/>
  </p:notesMasterIdLst>
  <p:handoutMasterIdLst>
    <p:handoutMasterId r:id="rId19"/>
  </p:handoutMasterIdLst>
  <p:sldIdLst>
    <p:sldId id="853" r:id="rId12"/>
    <p:sldId id="851" r:id="rId13"/>
    <p:sldId id="852" r:id="rId14"/>
    <p:sldId id="788" r:id="rId15"/>
    <p:sldId id="854" r:id="rId16"/>
    <p:sldId id="443" r:id="rId17"/>
  </p:sldIdLst>
  <p:sldSz cx="9144000" cy="5145088"/>
  <p:notesSz cx="6735763" cy="9866313"/>
  <p:custDataLst>
    <p:tags r:id="rId20"/>
  </p:custDataLst>
  <p:defaultTextStyle>
    <a:defPPr>
      <a:defRPr lang="nb-NO"/>
    </a:defPPr>
    <a:lvl1pPr marL="0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763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526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289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051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3815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6577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399340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2103" algn="l" defTabSz="685526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55555"/>
    <a:srgbClr val="707070"/>
    <a:srgbClr val="F5F5F5"/>
    <a:srgbClr val="32374B"/>
    <a:srgbClr val="252525"/>
    <a:srgbClr val="999999"/>
    <a:srgbClr val="006BB3"/>
    <a:srgbClr val="AAAAB4"/>
    <a:srgbClr val="6E0A14"/>
    <a:srgbClr val="682C8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996" autoAdjust="0"/>
    <p:restoredTop sz="93730" autoAdjust="0"/>
  </p:normalViewPr>
  <p:slideViewPr>
    <p:cSldViewPr snapToGrid="0">
      <p:cViewPr varScale="1">
        <p:scale>
          <a:sx n="150" d="100"/>
          <a:sy n="150" d="100"/>
        </p:scale>
        <p:origin x="108" y="312"/>
      </p:cViewPr>
      <p:guideLst>
        <p:guide orient="horz" pos="162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2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4.xml"/><Relationship Id="rId23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quarter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8CF98AD-E7E1-4B2A-8133-779D991EFB20}" type="datetimeFigureOut">
              <a:rPr lang="nb-NO" smtClean="0"/>
              <a:t>21.09.2018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3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49AB9D-9112-4583-99FC-E9211792A24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037981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83D1CCE-DE94-457F-A721-621E60F76388}" type="datetimeFigureOut">
              <a:rPr lang="nb-NO" smtClean="0"/>
              <a:t>21.09.2018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411163" y="1233488"/>
            <a:ext cx="5913437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6FEC5F-42F9-478B-96FA-BC4F8264636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566306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763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526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289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051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3815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6577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399340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2103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FEC5F-42F9-478B-96FA-BC4F82646363}" type="slidenum">
              <a:rPr lang="nb-NO" smtClean="0"/>
              <a:pPr/>
              <a:t>3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998611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6FEC5F-42F9-478B-96FA-BC4F82646363}" type="slidenum">
              <a:rPr lang="nb-NO" smtClean="0"/>
              <a:pPr/>
              <a:t>4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532671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08925">
              <a:defRPr/>
            </a:pPr>
            <a:endParaRPr lang="nb-NO" sz="140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A3C466-93E5-4CF5-94F5-FB83856BF616}" type="slidenum">
              <a:rPr kumimoji="0" lang="nb-NO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nb-NO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7999858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8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.bin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gif"/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9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4.jpg"/><Relationship Id="rId1" Type="http://schemas.openxmlformats.org/officeDocument/2006/relationships/slideMaster" Target="../slideMasters/slideMaster9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9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5.jpg"/><Relationship Id="rId1" Type="http://schemas.openxmlformats.org/officeDocument/2006/relationships/slideMaster" Target="../slideMasters/slideMaster9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6.jpg"/><Relationship Id="rId1" Type="http://schemas.openxmlformats.org/officeDocument/2006/relationships/slideMaster" Target="../slideMasters/slideMaster9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7.jpg"/><Relationship Id="rId1" Type="http://schemas.openxmlformats.org/officeDocument/2006/relationships/slideMaster" Target="../slideMasters/slideMaster9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8.jpg"/><Relationship Id="rId1" Type="http://schemas.openxmlformats.org/officeDocument/2006/relationships/slideMaster" Target="../slideMasters/slideMaster9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9.jpg"/><Relationship Id="rId1" Type="http://schemas.openxmlformats.org/officeDocument/2006/relationships/slideMaster" Target="../slideMasters/slideMaster9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40.jpg"/><Relationship Id="rId1" Type="http://schemas.openxmlformats.org/officeDocument/2006/relationships/slideMaster" Target="../slideMasters/slideMaster9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41.jpg"/><Relationship Id="rId1" Type="http://schemas.openxmlformats.org/officeDocument/2006/relationships/slideMaster" Target="../slideMasters/slideMaster9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9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9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9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9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9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9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9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0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9.bin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0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gif"/><Relationship Id="rId1" Type="http://schemas.openxmlformats.org/officeDocument/2006/relationships/slideMaster" Target="../slideMasters/slideMaster10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1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1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1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1.bin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3.jpeg"/><Relationship Id="rId1" Type="http://schemas.openxmlformats.org/officeDocument/2006/relationships/slideMaster" Target="../slideMasters/slideMaster1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4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5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6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7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8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9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30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31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32.jp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gif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4.jp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5.jp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6.jp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7.jp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8.jp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9.jp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40.jp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41.jp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oleObject" Target="../embeddings/oleObject8.bin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12.xml"/><Relationship Id="rId4" Type="http://schemas.openxmlformats.org/officeDocument/2006/relationships/tags" Target="../tags/tag11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6" y="1171"/>
            <a:ext cx="9139889" cy="5142775"/>
          </a:xfrm>
          <a:prstGeom prst="rect">
            <a:avLst/>
          </a:prstGeom>
        </p:spPr>
      </p:pic>
      <p:pic>
        <p:nvPicPr>
          <p:cNvPr id="14" name="Bilde 13" descr="Logo-hvi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0088" y="4664267"/>
            <a:ext cx="1159780" cy="222386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ktangel 9"/>
          <p:cNvSpPr/>
          <p:nvPr userDrawn="1"/>
        </p:nvSpPr>
        <p:spPr>
          <a:xfrm>
            <a:off x="467546" y="843843"/>
            <a:ext cx="8280920" cy="1512634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390" tIns="34191" rIns="68390" bIns="34191" rtlCol="0" anchor="ctr"/>
          <a:lstStyle/>
          <a:p>
            <a:pPr algn="ctr" defTabSz="683886"/>
            <a:endParaRPr lang="nb-NO" dirty="0">
              <a:solidFill>
                <a:srgbClr val="FFFFFF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11560" y="1095952"/>
            <a:ext cx="7772400" cy="612256"/>
          </a:xfrm>
        </p:spPr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560" y="1708223"/>
            <a:ext cx="7777162" cy="648849"/>
          </a:xfrm>
        </p:spPr>
        <p:txBody>
          <a:bodyPr>
            <a:normAutofit/>
          </a:bodyPr>
          <a:lstStyle>
            <a:lvl1pPr marL="0" indent="0">
              <a:buNone/>
              <a:defRPr sz="1350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nb-NO" dirty="0"/>
              <a:t>Klikk for å legge til sted og dato</a:t>
            </a:r>
            <a:br>
              <a:rPr lang="nb-NO" dirty="0"/>
            </a:br>
            <a:r>
              <a:rPr lang="nb-NO" dirty="0"/>
              <a:t>og fornavn, etternavn og stillingstittel</a:t>
            </a:r>
          </a:p>
        </p:txBody>
      </p:sp>
    </p:spTree>
    <p:extLst>
      <p:ext uri="{BB962C8B-B14F-4D97-AF65-F5344CB8AC3E}">
        <p14:creationId xmlns:p14="http://schemas.microsoft.com/office/powerpoint/2010/main" val="32252366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115616" y="4680115"/>
            <a:ext cx="1008112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683962"/>
            <a:fld id="{0BDF233E-DDA0-4538-9DCE-B99A5F957B8E}" type="datetime1">
              <a:rPr lang="en-US" sz="1800" smtClean="0">
                <a:solidFill>
                  <a:srgbClr val="32374B"/>
                </a:solidFill>
              </a:rPr>
              <a:pPr defTabSz="683962"/>
              <a:t>9/21/2018</a:t>
            </a:fld>
            <a:endParaRPr lang="en-US" sz="1800" dirty="0">
              <a:solidFill>
                <a:srgbClr val="32374B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2195736" y="4680115"/>
            <a:ext cx="5184576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683962"/>
            <a:endParaRPr lang="en-US" sz="1800">
              <a:solidFill>
                <a:srgbClr val="32374B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611188" y="4679428"/>
            <a:ext cx="405408" cy="216091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683962"/>
            <a:fld id="{7B785221-A51B-4371-B866-038075B34EEB}" type="slidenum">
              <a:rPr lang="nb-NO" sz="1800" smtClean="0">
                <a:solidFill>
                  <a:srgbClr val="32374B"/>
                </a:solidFill>
              </a:rPr>
              <a:pPr defTabSz="683962"/>
              <a:t>‹#›</a:t>
            </a:fld>
            <a:endParaRPr lang="nb-NO" sz="1800" dirty="0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7119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norama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714103" y="1221958"/>
            <a:ext cx="8034610" cy="2727842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6952" indent="0">
              <a:buNone/>
              <a:defRPr sz="2800"/>
            </a:lvl2pPr>
            <a:lvl3pPr marL="913908" indent="0">
              <a:buNone/>
              <a:defRPr sz="2400"/>
            </a:lvl3pPr>
            <a:lvl4pPr marL="1370859" indent="0">
              <a:buNone/>
              <a:defRPr sz="2000"/>
            </a:lvl4pPr>
            <a:lvl5pPr marL="1827811" indent="0">
              <a:buNone/>
              <a:defRPr sz="2000"/>
            </a:lvl5pPr>
            <a:lvl6pPr marL="2284767" indent="0">
              <a:buNone/>
              <a:defRPr sz="2000"/>
            </a:lvl6pPr>
            <a:lvl7pPr marL="2741718" indent="0">
              <a:buNone/>
              <a:defRPr sz="2000"/>
            </a:lvl7pPr>
            <a:lvl8pPr marL="3198673" indent="0">
              <a:buNone/>
              <a:defRPr sz="2000"/>
            </a:lvl8pPr>
            <a:lvl9pPr marL="3655627" indent="0">
              <a:buNone/>
              <a:defRPr sz="2000"/>
            </a:lvl9pPr>
          </a:lstStyle>
          <a:p>
            <a:pPr lvl="0"/>
            <a:r>
              <a:rPr lang="nb-NO" noProof="0"/>
              <a:t>Klikk ikonet for å legge til et bilde</a:t>
            </a:r>
          </a:p>
        </p:txBody>
      </p:sp>
      <p:sp>
        <p:nvSpPr>
          <p:cNvPr id="10" name="Tittel 1"/>
          <p:cNvSpPr>
            <a:spLocks noGrp="1"/>
          </p:cNvSpPr>
          <p:nvPr>
            <p:ph type="title"/>
          </p:nvPr>
        </p:nvSpPr>
        <p:spPr>
          <a:xfrm>
            <a:off x="611560" y="465662"/>
            <a:ext cx="8075240" cy="539967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6CD7F452-734E-4A5F-84CB-510FF5C5C783}" type="datetime1">
              <a:rPr lang="en-US"/>
              <a:pPr>
                <a:defRPr/>
              </a:pPr>
              <a:t>9/21/2018</a:t>
            </a:fld>
            <a:endParaRPr/>
          </a:p>
        </p:txBody>
      </p:sp>
      <p:sp>
        <p:nvSpPr>
          <p:cNvPr id="5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t>  Versjon 8 - 26. november</a:t>
            </a:r>
          </a:p>
        </p:txBody>
      </p:sp>
      <p:sp>
        <p:nvSpPr>
          <p:cNvPr id="6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94752" fontAlgn="base">
              <a:spcBef>
                <a:spcPct val="0"/>
              </a:spcBef>
              <a:spcAft>
                <a:spcPct val="0"/>
              </a:spcAft>
              <a:defRPr>
                <a:latin typeface="DIN-Regular" pitchFamily="50" charset="0"/>
              </a:defRPr>
            </a:lvl1pPr>
          </a:lstStyle>
          <a:p>
            <a:pPr>
              <a:defRPr/>
            </a:pPr>
            <a:fld id="{6E85C3E0-9540-497F-8DB2-99250DEA1498}" type="slidenum">
              <a:rPr lang="nb-NO"/>
              <a:pPr>
                <a:defRPr/>
              </a:pPr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5446461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85611BC0-3B27-4060-B5C9-8218796BFF4E}" type="datetime1">
              <a:rPr lang="en-US"/>
              <a:pPr>
                <a:defRPr/>
              </a:pPr>
              <a:t>9/21/2018</a:t>
            </a:fld>
            <a:endParaRPr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t>  Versjon 8 - 26. november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94752" fontAlgn="base">
              <a:spcBef>
                <a:spcPct val="0"/>
              </a:spcBef>
              <a:spcAft>
                <a:spcPct val="0"/>
              </a:spcAft>
              <a:defRPr>
                <a:latin typeface="DIN-Regular" pitchFamily="50" charset="0"/>
              </a:defRPr>
            </a:lvl1pPr>
          </a:lstStyle>
          <a:p>
            <a:pPr>
              <a:defRPr/>
            </a:pPr>
            <a:fld id="{7C35AC63-88AE-475B-AA43-62D9F316019A}" type="slidenum">
              <a:rPr lang="nb-NO"/>
              <a:pPr>
                <a:defRPr/>
              </a:pPr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7362786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6048"/>
            <a:ext cx="2057400" cy="4389999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6048"/>
            <a:ext cx="6019800" cy="4389999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B3E5B6FD-813E-46C9-BF50-F09313C105E2}" type="datetime1">
              <a:rPr lang="en-US"/>
              <a:pPr>
                <a:defRPr/>
              </a:pPr>
              <a:t>9/21/2018</a:t>
            </a:fld>
            <a:endParaRPr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t>  Versjon 8 - 26. november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94752" fontAlgn="base">
              <a:spcBef>
                <a:spcPct val="0"/>
              </a:spcBef>
              <a:spcAft>
                <a:spcPct val="0"/>
              </a:spcAft>
              <a:defRPr>
                <a:latin typeface="DIN-Regular" pitchFamily="50" charset="0"/>
              </a:defRPr>
            </a:lvl1pPr>
          </a:lstStyle>
          <a:p>
            <a:pPr>
              <a:defRPr/>
            </a:pPr>
            <a:fld id="{CBF3E3F6-1D10-45FA-8BDA-2C58DCC33F86}" type="slidenum">
              <a:rPr lang="nb-NO"/>
              <a:pPr>
                <a:defRPr/>
              </a:pPr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1087890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dekkende bilde med hvit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1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5088"/>
          </a:xfrm>
        </p:spPr>
        <p:txBody>
          <a:bodyPr rtlCol="0">
            <a:normAutofit/>
          </a:bodyPr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noProof="0"/>
              <a:t>Klikk ikonet for å legge til et bilde</a:t>
            </a:r>
            <a:endParaRPr lang="nb-NO" noProof="0" dirty="0"/>
          </a:p>
        </p:txBody>
      </p:sp>
      <p:sp>
        <p:nvSpPr>
          <p:cNvPr id="21" name="Plassholder for tekst 20"/>
          <p:cNvSpPr>
            <a:spLocks noGrp="1"/>
          </p:cNvSpPr>
          <p:nvPr>
            <p:ph type="body" sz="quarter" idx="11"/>
          </p:nvPr>
        </p:nvSpPr>
        <p:spPr>
          <a:xfrm>
            <a:off x="7624809" y="4656243"/>
            <a:ext cx="1171709" cy="22802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86530626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dekkende bilde med sort log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15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5088"/>
          </a:xfrm>
        </p:spPr>
        <p:txBody>
          <a:bodyPr rtlCol="0">
            <a:normAutofit/>
          </a:bodyPr>
          <a:lstStyle>
            <a:lvl1pPr>
              <a:defRPr sz="20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nb-NO" noProof="0"/>
              <a:t>Klikk ikonet for å legge til et bilde</a:t>
            </a:r>
            <a:endParaRPr lang="nb-NO" noProof="0" dirty="0"/>
          </a:p>
        </p:txBody>
      </p:sp>
      <p:sp>
        <p:nvSpPr>
          <p:cNvPr id="4" name="Plassholder for tekst 20"/>
          <p:cNvSpPr>
            <a:spLocks noGrp="1"/>
          </p:cNvSpPr>
          <p:nvPr>
            <p:ph type="body" sz="quarter" idx="12"/>
          </p:nvPr>
        </p:nvSpPr>
        <p:spPr>
          <a:xfrm>
            <a:off x="7624809" y="4656243"/>
            <a:ext cx="1171709" cy="22802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2163903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lysbildenummer 5"/>
          <p:cNvSpPr txBox="1">
            <a:spLocks/>
          </p:cNvSpPr>
          <p:nvPr userDrawn="1"/>
        </p:nvSpPr>
        <p:spPr bwMode="auto">
          <a:xfrm>
            <a:off x="281588" y="4773445"/>
            <a:ext cx="450540" cy="20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2373" tIns="51185" rIns="102373" bIns="51185" anchor="ctr"/>
          <a:lstStyle>
            <a:lvl1pPr defTabSz="1687513" eaLnBrk="0" hangingPunct="0">
              <a:defRPr sz="2800">
                <a:solidFill>
                  <a:schemeClr val="tx1"/>
                </a:solidFill>
                <a:latin typeface="DIN-Regular" pitchFamily="2" charset="0"/>
              </a:defRPr>
            </a:lvl1pPr>
            <a:lvl2pPr marL="742950" indent="-285750" defTabSz="1687513" eaLnBrk="0" hangingPunct="0">
              <a:defRPr sz="2800">
                <a:solidFill>
                  <a:schemeClr val="tx1"/>
                </a:solidFill>
                <a:latin typeface="DIN-Regular" pitchFamily="2" charset="0"/>
              </a:defRPr>
            </a:lvl2pPr>
            <a:lvl3pPr marL="1143000" indent="-228600" defTabSz="1687513" eaLnBrk="0" hangingPunct="0">
              <a:defRPr sz="2800">
                <a:solidFill>
                  <a:schemeClr val="tx1"/>
                </a:solidFill>
                <a:latin typeface="DIN-Regular" pitchFamily="2" charset="0"/>
              </a:defRPr>
            </a:lvl3pPr>
            <a:lvl4pPr marL="1600200" indent="-228600" defTabSz="1687513" eaLnBrk="0" hangingPunct="0">
              <a:defRPr sz="2800">
                <a:solidFill>
                  <a:schemeClr val="tx1"/>
                </a:solidFill>
                <a:latin typeface="DIN-Regular" pitchFamily="2" charset="0"/>
              </a:defRPr>
            </a:lvl4pPr>
            <a:lvl5pPr marL="2057400" indent="-228600" defTabSz="1687513" eaLnBrk="0" hangingPunct="0">
              <a:defRPr sz="2800">
                <a:solidFill>
                  <a:schemeClr val="tx1"/>
                </a:solidFill>
                <a:latin typeface="DIN-Regular" pitchFamily="2" charset="0"/>
              </a:defRPr>
            </a:lvl5pPr>
            <a:lvl6pPr marL="2514600" indent="-228600" algn="ctr" defTabSz="16875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DIN-Regular" pitchFamily="2" charset="0"/>
              </a:defRPr>
            </a:lvl6pPr>
            <a:lvl7pPr marL="2971800" indent="-228600" algn="ctr" defTabSz="16875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DIN-Regular" pitchFamily="2" charset="0"/>
              </a:defRPr>
            </a:lvl7pPr>
            <a:lvl8pPr marL="3429000" indent="-228600" algn="ctr" defTabSz="16875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DIN-Regular" pitchFamily="2" charset="0"/>
              </a:defRPr>
            </a:lvl8pPr>
            <a:lvl9pPr marL="3886200" indent="-228600" algn="ctr" defTabSz="168751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DIN-Regular" pitchFamily="2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E74099E6-BD3C-4028-BA3A-DB7452E55756}" type="slidenum">
              <a:rPr lang="nb-NO" sz="300" b="1" smtClean="0">
                <a:solidFill>
                  <a:srgbClr val="E60000"/>
                </a:solidFill>
                <a:latin typeface="Arial" pitchFamily="34" charset="0"/>
                <a:ea typeface="Georgia" pitchFamily="18" charset="0"/>
                <a:cs typeface="Georgia" pitchFamily="18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nb-NO" sz="300" b="1">
              <a:solidFill>
                <a:srgbClr val="E60000"/>
              </a:solidFill>
              <a:latin typeface="Arial" pitchFamily="34" charset="0"/>
              <a:ea typeface="Georgia" pitchFamily="18" charset="0"/>
              <a:cs typeface="Georgia" pitchFamily="18" charset="0"/>
            </a:endParaRPr>
          </a:p>
        </p:txBody>
      </p:sp>
      <p:sp>
        <p:nvSpPr>
          <p:cNvPr id="4" name="TekstSylinder 3"/>
          <p:cNvSpPr txBox="1">
            <a:spLocks noChangeArrowheads="1"/>
          </p:cNvSpPr>
          <p:nvPr userDrawn="1"/>
        </p:nvSpPr>
        <p:spPr bwMode="auto">
          <a:xfrm>
            <a:off x="599827" y="4785514"/>
            <a:ext cx="684750" cy="184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2" tIns="45707" rIns="91412" bIns="45707">
            <a:spAutoFit/>
          </a:bodyPr>
          <a:lstStyle>
            <a:lvl1pPr defTabSz="842963" eaLnBrk="0" hangingPunct="0">
              <a:defRPr sz="2800">
                <a:solidFill>
                  <a:schemeClr val="tx1"/>
                </a:solidFill>
                <a:latin typeface="DIN-Regular" pitchFamily="2" charset="0"/>
              </a:defRPr>
            </a:lvl1pPr>
            <a:lvl2pPr marL="742950" indent="-285750" defTabSz="842963" eaLnBrk="0" hangingPunct="0">
              <a:defRPr sz="2800">
                <a:solidFill>
                  <a:schemeClr val="tx1"/>
                </a:solidFill>
                <a:latin typeface="DIN-Regular" pitchFamily="2" charset="0"/>
              </a:defRPr>
            </a:lvl2pPr>
            <a:lvl3pPr marL="1143000" indent="-228600" defTabSz="842963" eaLnBrk="0" hangingPunct="0">
              <a:defRPr sz="2800">
                <a:solidFill>
                  <a:schemeClr val="tx1"/>
                </a:solidFill>
                <a:latin typeface="DIN-Regular" pitchFamily="2" charset="0"/>
              </a:defRPr>
            </a:lvl3pPr>
            <a:lvl4pPr marL="1600200" indent="-228600" defTabSz="842963" eaLnBrk="0" hangingPunct="0">
              <a:defRPr sz="2800">
                <a:solidFill>
                  <a:schemeClr val="tx1"/>
                </a:solidFill>
                <a:latin typeface="DIN-Regular" pitchFamily="2" charset="0"/>
              </a:defRPr>
            </a:lvl4pPr>
            <a:lvl5pPr marL="2057400" indent="-228600" defTabSz="842963" eaLnBrk="0" hangingPunct="0">
              <a:defRPr sz="2800">
                <a:solidFill>
                  <a:schemeClr val="tx1"/>
                </a:solidFill>
                <a:latin typeface="DIN-Regular" pitchFamily="2" charset="0"/>
              </a:defRPr>
            </a:lvl5pPr>
            <a:lvl6pPr marL="2514600" indent="-228600" algn="ctr" defTabSz="8429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DIN-Regular" pitchFamily="2" charset="0"/>
              </a:defRPr>
            </a:lvl6pPr>
            <a:lvl7pPr marL="2971800" indent="-228600" algn="ctr" defTabSz="8429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DIN-Regular" pitchFamily="2" charset="0"/>
              </a:defRPr>
            </a:lvl7pPr>
            <a:lvl8pPr marL="3429000" indent="-228600" algn="ctr" defTabSz="8429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DIN-Regular" pitchFamily="2" charset="0"/>
              </a:defRPr>
            </a:lvl8pPr>
            <a:lvl9pPr marL="3886200" indent="-228600" algn="ctr" defTabSz="842963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DIN-Regular" pitchFamily="2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nb-NO" sz="600">
                <a:solidFill>
                  <a:srgbClr val="404040"/>
                </a:solidFill>
                <a:latin typeface="Arial" pitchFamily="34" charset="0"/>
              </a:rPr>
              <a:t>av side 114</a:t>
            </a:r>
          </a:p>
        </p:txBody>
      </p:sp>
      <p:pic>
        <p:nvPicPr>
          <p:cNvPr id="5" name="Bilde 9" descr="Ruter_signatur_hel_roed_transparent_bakgrunn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2445" y="4625431"/>
            <a:ext cx="986003" cy="3788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Plassholder for innhold 5"/>
          <p:cNvSpPr>
            <a:spLocks noGrp="1"/>
          </p:cNvSpPr>
          <p:nvPr>
            <p:ph sz="quarter" idx="10"/>
          </p:nvPr>
        </p:nvSpPr>
        <p:spPr>
          <a:xfrm>
            <a:off x="941388" y="4878306"/>
            <a:ext cx="914400" cy="914682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739111125"/>
      </p:ext>
    </p:extLst>
  </p:cSld>
  <p:clrMapOvr>
    <a:masterClrMapping/>
  </p:clrMapOvr>
  <p:transition spd="slow"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lassholder for bilde 3" descr="ny2.jpg"/>
          <p:cNvPicPr>
            <a:picLocks noChangeAspect="1"/>
          </p:cNvPicPr>
          <p:nvPr userDrawn="1"/>
        </p:nvPicPr>
        <p:blipFill>
          <a:blip r:embed="rId2" cstate="print"/>
          <a:srcRect t="7796" b="7796"/>
          <a:stretch>
            <a:fillRect/>
          </a:stretch>
        </p:blipFill>
        <p:spPr>
          <a:xfrm>
            <a:off x="0" y="0"/>
            <a:ext cx="9144000" cy="5145088"/>
          </a:xfrm>
          <a:prstGeom prst="rect">
            <a:avLst/>
          </a:prstGeom>
        </p:spPr>
      </p:pic>
      <p:pic>
        <p:nvPicPr>
          <p:cNvPr id="14" name="Bilde 13" descr="Logo-hvit.pn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620088" y="4664240"/>
            <a:ext cx="1159780" cy="222386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ktangel 9"/>
          <p:cNvSpPr/>
          <p:nvPr userDrawn="1"/>
        </p:nvSpPr>
        <p:spPr>
          <a:xfrm>
            <a:off x="467544" y="843819"/>
            <a:ext cx="8280920" cy="2070869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5590" tIns="42795" rIns="85590" bIns="42795" rtlCol="0" anchor="ctr"/>
          <a:lstStyle/>
          <a:p>
            <a:pPr algn="ctr" defTabSz="855857"/>
            <a:endParaRPr lang="nb-NO" sz="1672">
              <a:solidFill>
                <a:srgbClr val="FFFFFF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11188" y="910509"/>
            <a:ext cx="7772400" cy="612256"/>
          </a:xfrm>
        </p:spPr>
        <p:txBody>
          <a:bodyPr/>
          <a:lstStyle>
            <a:lvl1pPr>
              <a:defRPr sz="2635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11188" y="1526080"/>
            <a:ext cx="7777236" cy="648272"/>
          </a:xfrm>
        </p:spPr>
        <p:txBody>
          <a:bodyPr>
            <a:noAutofit/>
          </a:bodyPr>
          <a:lstStyle>
            <a:lvl1pPr marL="0" indent="0" algn="l">
              <a:buNone/>
              <a:defRPr sz="2635">
                <a:solidFill>
                  <a:schemeClr val="tx1"/>
                </a:solidFill>
              </a:defRPr>
            </a:lvl1pPr>
            <a:lvl2pPr marL="427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558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837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117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396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67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95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4234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115616" y="4680102"/>
            <a:ext cx="1008112" cy="2192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9693771-4650-4F82-959E-EA8429481F70}" type="datetime1">
              <a:rPr lang="nb-NO" smtClean="0">
                <a:solidFill>
                  <a:srgbClr val="FFFFFF"/>
                </a:solidFill>
              </a:rPr>
              <a:pPr/>
              <a:t>21.09.2018</a:t>
            </a:fld>
            <a:endParaRPr>
              <a:solidFill>
                <a:srgbClr val="FFFFFF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2195736" y="4680102"/>
            <a:ext cx="5184576" cy="2192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>
              <a:solidFill>
                <a:srgbClr val="FFFFFF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611188" y="4679428"/>
            <a:ext cx="405408" cy="2160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785221-A51B-4371-B866-038075B34EEB}" type="slidenum">
              <a:rPr lang="nb-NO" smtClean="0">
                <a:solidFill>
                  <a:srgbClr val="FFFFFF"/>
                </a:solidFill>
              </a:rPr>
              <a:pPr/>
              <a:t>‹#›</a:t>
            </a:fld>
            <a:endParaRPr lang="nb-NO">
              <a:solidFill>
                <a:srgbClr val="FFFFFF"/>
              </a:solidFill>
            </a:endParaRPr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188" y="2212394"/>
            <a:ext cx="7777162" cy="648849"/>
          </a:xfrm>
        </p:spPr>
        <p:txBody>
          <a:bodyPr>
            <a:normAutofit/>
          </a:bodyPr>
          <a:lstStyle>
            <a:lvl1pPr marL="0" indent="0">
              <a:buNone/>
              <a:defRPr sz="1723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nb-NO" dirty="0"/>
              <a:t>Klikk for å legge til sted og dato</a:t>
            </a:r>
            <a:br>
              <a:rPr lang="nb-NO" dirty="0"/>
            </a:br>
            <a:r>
              <a:rPr lang="nb-NO" dirty="0"/>
              <a:t>og fornavn, etternavn og stillingstittel</a:t>
            </a:r>
          </a:p>
        </p:txBody>
      </p:sp>
    </p:spTree>
    <p:extLst>
      <p:ext uri="{BB962C8B-B14F-4D97-AF65-F5344CB8AC3E}">
        <p14:creationId xmlns:p14="http://schemas.microsoft.com/office/powerpoint/2010/main" val="5892761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58797-B6C9-4690-A1A9-44CF6F7E7B22}" type="datetime1">
              <a:rPr lang="nb-NO">
                <a:solidFill>
                  <a:srgbClr val="32374B"/>
                </a:solidFill>
              </a:rPr>
              <a:pPr/>
              <a:t>21.09.2018</a:t>
            </a:fld>
            <a:endParaRPr>
              <a:solidFill>
                <a:srgbClr val="32374B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32374B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785221-A51B-4371-B866-038075B34EEB}" type="slidenum">
              <a:rPr lang="nb-NO" smtClean="0">
                <a:solidFill>
                  <a:srgbClr val="32374B"/>
                </a:solidFill>
              </a:rPr>
              <a:pPr/>
              <a:t>‹#›</a:t>
            </a:fld>
            <a:endParaRPr lang="nb-NO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2107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11188" y="1059910"/>
            <a:ext cx="3744788" cy="3536131"/>
          </a:xfrm>
        </p:spPr>
        <p:txBody>
          <a:bodyPr>
            <a:normAutofit/>
          </a:bodyPr>
          <a:lstStyle>
            <a:lvl1pPr>
              <a:defRPr sz="1723"/>
            </a:lvl1pPr>
            <a:lvl2pPr>
              <a:defRPr sz="1723"/>
            </a:lvl2pPr>
            <a:lvl3pPr>
              <a:defRPr sz="1723"/>
            </a:lvl3pPr>
            <a:lvl4pPr>
              <a:defRPr sz="1723"/>
            </a:lvl4pPr>
            <a:lvl5pPr>
              <a:defRPr sz="1723"/>
            </a:lvl5pPr>
            <a:lvl6pPr>
              <a:defRPr sz="1672"/>
            </a:lvl6pPr>
            <a:lvl7pPr>
              <a:defRPr sz="1672"/>
            </a:lvl7pPr>
            <a:lvl8pPr>
              <a:defRPr sz="1672"/>
            </a:lvl8pPr>
            <a:lvl9pPr>
              <a:defRPr sz="1672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716016" y="1059910"/>
            <a:ext cx="3970784" cy="3536131"/>
          </a:xfrm>
        </p:spPr>
        <p:txBody>
          <a:bodyPr>
            <a:normAutofit/>
          </a:bodyPr>
          <a:lstStyle>
            <a:lvl1pPr>
              <a:defRPr sz="1723"/>
            </a:lvl1pPr>
            <a:lvl2pPr>
              <a:defRPr sz="1723"/>
            </a:lvl2pPr>
            <a:lvl3pPr>
              <a:defRPr sz="1723"/>
            </a:lvl3pPr>
            <a:lvl4pPr>
              <a:defRPr sz="1723"/>
            </a:lvl4pPr>
            <a:lvl5pPr>
              <a:defRPr sz="1723"/>
            </a:lvl5pPr>
            <a:lvl6pPr>
              <a:defRPr sz="1672"/>
            </a:lvl6pPr>
            <a:lvl7pPr>
              <a:defRPr sz="1672"/>
            </a:lvl7pPr>
            <a:lvl8pPr>
              <a:defRPr sz="1672"/>
            </a:lvl8pPr>
            <a:lvl9pPr>
              <a:defRPr sz="1672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BEDFB1-F970-4388-AAEE-1F5893B4663D}" type="datetime1">
              <a:rPr lang="nb-NO">
                <a:solidFill>
                  <a:srgbClr val="32374B"/>
                </a:solidFill>
              </a:rPr>
              <a:pPr/>
              <a:t>21.09.2018</a:t>
            </a:fld>
            <a:endParaRPr>
              <a:solidFill>
                <a:srgbClr val="32374B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32374B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785221-A51B-4371-B866-038075B34EEB}" type="slidenum">
              <a:rPr lang="nb-NO" smtClean="0">
                <a:solidFill>
                  <a:srgbClr val="32374B"/>
                </a:solidFill>
              </a:rPr>
              <a:pPr/>
              <a:t>‹#›</a:t>
            </a:fld>
            <a:endParaRPr lang="nb-NO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0981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11188" y="1059909"/>
            <a:ext cx="3744788" cy="642019"/>
          </a:xfrm>
        </p:spPr>
        <p:txBody>
          <a:bodyPr anchor="t">
            <a:normAutofit/>
          </a:bodyPr>
          <a:lstStyle>
            <a:lvl1pPr marL="0" indent="0">
              <a:buNone/>
              <a:defRPr sz="1723" b="0"/>
            </a:lvl1pPr>
            <a:lvl2pPr marL="427928" indent="0">
              <a:buNone/>
              <a:defRPr sz="1875" b="1"/>
            </a:lvl2pPr>
            <a:lvl3pPr marL="855857" indent="0">
              <a:buNone/>
              <a:defRPr sz="1672" b="1"/>
            </a:lvl3pPr>
            <a:lvl4pPr marL="1283785" indent="0">
              <a:buNone/>
              <a:defRPr sz="1520" b="1"/>
            </a:lvl4pPr>
            <a:lvl5pPr marL="1711713" indent="0">
              <a:buNone/>
              <a:defRPr sz="1520" b="1"/>
            </a:lvl5pPr>
            <a:lvl6pPr marL="2139642" indent="0">
              <a:buNone/>
              <a:defRPr sz="1520" b="1"/>
            </a:lvl6pPr>
            <a:lvl7pPr marL="2567570" indent="0">
              <a:buNone/>
              <a:defRPr sz="1520" b="1"/>
            </a:lvl7pPr>
            <a:lvl8pPr marL="2995498" indent="0">
              <a:buNone/>
              <a:defRPr sz="1520" b="1"/>
            </a:lvl8pPr>
            <a:lvl9pPr marL="3423427" indent="0">
              <a:buNone/>
              <a:defRPr sz="152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1188" y="1708181"/>
            <a:ext cx="3744788" cy="2887859"/>
          </a:xfrm>
        </p:spPr>
        <p:txBody>
          <a:bodyPr>
            <a:normAutofit/>
          </a:bodyPr>
          <a:lstStyle>
            <a:lvl1pPr>
              <a:defRPr sz="1723"/>
            </a:lvl1pPr>
            <a:lvl2pPr>
              <a:defRPr sz="1723"/>
            </a:lvl2pPr>
            <a:lvl3pPr>
              <a:defRPr sz="1723"/>
            </a:lvl3pPr>
            <a:lvl4pPr>
              <a:defRPr sz="1723"/>
            </a:lvl4pPr>
            <a:lvl5pPr>
              <a:defRPr sz="1723"/>
            </a:lvl5pPr>
            <a:lvl6pPr>
              <a:defRPr sz="1520"/>
            </a:lvl6pPr>
            <a:lvl7pPr>
              <a:defRPr sz="1520"/>
            </a:lvl7pPr>
            <a:lvl8pPr>
              <a:defRPr sz="1520"/>
            </a:lvl8pPr>
            <a:lvl9pPr>
              <a:defRPr sz="152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716017" y="1059909"/>
            <a:ext cx="4032697" cy="648272"/>
          </a:xfrm>
        </p:spPr>
        <p:txBody>
          <a:bodyPr anchor="t">
            <a:normAutofit/>
          </a:bodyPr>
          <a:lstStyle>
            <a:lvl1pPr marL="0" indent="0">
              <a:buNone/>
              <a:defRPr sz="1723" b="0"/>
            </a:lvl1pPr>
            <a:lvl2pPr marL="427928" indent="0">
              <a:buNone/>
              <a:defRPr sz="1875" b="1"/>
            </a:lvl2pPr>
            <a:lvl3pPr marL="855857" indent="0">
              <a:buNone/>
              <a:defRPr sz="1672" b="1"/>
            </a:lvl3pPr>
            <a:lvl4pPr marL="1283785" indent="0">
              <a:buNone/>
              <a:defRPr sz="1520" b="1"/>
            </a:lvl4pPr>
            <a:lvl5pPr marL="1711713" indent="0">
              <a:buNone/>
              <a:defRPr sz="1520" b="1"/>
            </a:lvl5pPr>
            <a:lvl6pPr marL="2139642" indent="0">
              <a:buNone/>
              <a:defRPr sz="1520" b="1"/>
            </a:lvl6pPr>
            <a:lvl7pPr marL="2567570" indent="0">
              <a:buNone/>
              <a:defRPr sz="1520" b="1"/>
            </a:lvl7pPr>
            <a:lvl8pPr marL="2995498" indent="0">
              <a:buNone/>
              <a:defRPr sz="1520" b="1"/>
            </a:lvl8pPr>
            <a:lvl9pPr marL="3423427" indent="0">
              <a:buNone/>
              <a:defRPr sz="152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704379" y="1703761"/>
            <a:ext cx="3970784" cy="2964381"/>
          </a:xfrm>
        </p:spPr>
        <p:txBody>
          <a:bodyPr>
            <a:normAutofit/>
          </a:bodyPr>
          <a:lstStyle>
            <a:lvl1pPr>
              <a:defRPr sz="1723"/>
            </a:lvl1pPr>
            <a:lvl2pPr>
              <a:defRPr sz="1723"/>
            </a:lvl2pPr>
            <a:lvl3pPr>
              <a:defRPr sz="1723"/>
            </a:lvl3pPr>
            <a:lvl4pPr>
              <a:defRPr sz="1723"/>
            </a:lvl4pPr>
            <a:lvl5pPr>
              <a:defRPr sz="1723"/>
            </a:lvl5pPr>
            <a:lvl6pPr>
              <a:defRPr sz="1520"/>
            </a:lvl6pPr>
            <a:lvl7pPr>
              <a:defRPr sz="1520"/>
            </a:lvl7pPr>
            <a:lvl8pPr>
              <a:defRPr sz="1520"/>
            </a:lvl8pPr>
            <a:lvl9pPr>
              <a:defRPr sz="152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F5511E-67BC-442A-805B-148D40933720}" type="datetime1">
              <a:rPr lang="nb-NO">
                <a:solidFill>
                  <a:srgbClr val="32374B"/>
                </a:solidFill>
              </a:rPr>
              <a:pPr/>
              <a:t>21.09.2018</a:t>
            </a:fld>
            <a:endParaRPr>
              <a:solidFill>
                <a:srgbClr val="32374B"/>
              </a:solidFill>
            </a:endParaRPr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32374B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785221-A51B-4371-B866-038075B34EEB}" type="slidenum">
              <a:rPr lang="nb-NO" smtClean="0">
                <a:solidFill>
                  <a:srgbClr val="32374B"/>
                </a:solidFill>
              </a:rPr>
              <a:pPr/>
              <a:t>‹#›</a:t>
            </a:fld>
            <a:endParaRPr lang="nb-NO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1006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6056"/>
            <a:ext cx="2057400" cy="4389999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6056"/>
            <a:ext cx="6019800" cy="4389999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115616" y="4680115"/>
            <a:ext cx="1008112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683962"/>
            <a:fld id="{178DBDD6-5189-4D96-8CF2-078B16485B13}" type="datetime1">
              <a:rPr lang="en-US" sz="1800" smtClean="0">
                <a:solidFill>
                  <a:srgbClr val="32374B"/>
                </a:solidFill>
              </a:rPr>
              <a:pPr defTabSz="683962"/>
              <a:t>9/21/2018</a:t>
            </a:fld>
            <a:endParaRPr lang="en-US" sz="1800" dirty="0">
              <a:solidFill>
                <a:srgbClr val="32374B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2195736" y="4680115"/>
            <a:ext cx="5184576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683962"/>
            <a:endParaRPr lang="en-US" sz="1800">
              <a:solidFill>
                <a:srgbClr val="32374B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611188" y="4679428"/>
            <a:ext cx="405408" cy="216091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683962"/>
            <a:fld id="{7B785221-A51B-4371-B866-038075B34EEB}" type="slidenum">
              <a:rPr lang="nb-NO" sz="1800" smtClean="0">
                <a:solidFill>
                  <a:srgbClr val="32374B"/>
                </a:solidFill>
              </a:rPr>
              <a:pPr defTabSz="683962"/>
              <a:t>‹#›</a:t>
            </a:fld>
            <a:endParaRPr lang="nb-NO" sz="1800" dirty="0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8305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ødtekst med pun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11189" y="1059909"/>
            <a:ext cx="8137525" cy="1458612"/>
          </a:xfrm>
        </p:spPr>
        <p:txBody>
          <a:bodyPr tIns="132998" anchor="t">
            <a:normAutofit/>
          </a:bodyPr>
          <a:lstStyle>
            <a:lvl1pPr marL="0" indent="0">
              <a:buNone/>
              <a:defRPr sz="1723" b="0"/>
            </a:lvl1pPr>
            <a:lvl2pPr marL="427928" indent="0">
              <a:buNone/>
              <a:defRPr sz="1875" b="1"/>
            </a:lvl2pPr>
            <a:lvl3pPr marL="855857" indent="0">
              <a:buNone/>
              <a:defRPr sz="1672" b="1"/>
            </a:lvl3pPr>
            <a:lvl4pPr marL="1283785" indent="0">
              <a:buNone/>
              <a:defRPr sz="1520" b="1"/>
            </a:lvl4pPr>
            <a:lvl5pPr marL="1711713" indent="0">
              <a:buNone/>
              <a:defRPr sz="1520" b="1"/>
            </a:lvl5pPr>
            <a:lvl6pPr marL="2139642" indent="0">
              <a:buNone/>
              <a:defRPr sz="1520" b="1"/>
            </a:lvl6pPr>
            <a:lvl7pPr marL="2567570" indent="0">
              <a:buNone/>
              <a:defRPr sz="1520" b="1"/>
            </a:lvl7pPr>
            <a:lvl8pPr marL="2995498" indent="0">
              <a:buNone/>
              <a:defRPr sz="1520" b="1"/>
            </a:lvl8pPr>
            <a:lvl9pPr marL="3423427" indent="0">
              <a:buNone/>
              <a:defRPr sz="1520" b="1"/>
            </a:lvl9pPr>
          </a:lstStyle>
          <a:p>
            <a:pPr lvl="0"/>
            <a:r>
              <a:rPr lang="nb-NO" dirty="0"/>
              <a:t>Klikk for å skrive brødtekst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1189" y="2572544"/>
            <a:ext cx="8137525" cy="2023496"/>
          </a:xfrm>
        </p:spPr>
        <p:txBody>
          <a:bodyPr>
            <a:normAutofit/>
          </a:bodyPr>
          <a:lstStyle>
            <a:lvl1pPr>
              <a:defRPr sz="1723"/>
            </a:lvl1pPr>
            <a:lvl2pPr>
              <a:defRPr sz="1723"/>
            </a:lvl2pPr>
            <a:lvl3pPr>
              <a:defRPr sz="1723"/>
            </a:lvl3pPr>
            <a:lvl4pPr>
              <a:defRPr sz="1723"/>
            </a:lvl4pPr>
            <a:lvl5pPr>
              <a:defRPr sz="1723"/>
            </a:lvl5pPr>
            <a:lvl6pPr>
              <a:defRPr sz="1520"/>
            </a:lvl6pPr>
            <a:lvl7pPr>
              <a:defRPr sz="1520"/>
            </a:lvl7pPr>
            <a:lvl8pPr>
              <a:defRPr sz="1520"/>
            </a:lvl8pPr>
            <a:lvl9pPr>
              <a:defRPr sz="152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A769CD-C692-48D9-8FD3-209066D47431}" type="datetime1">
              <a:rPr lang="nb-NO">
                <a:solidFill>
                  <a:srgbClr val="32374B"/>
                </a:solidFill>
              </a:rPr>
              <a:pPr/>
              <a:t>21.09.2018</a:t>
            </a:fld>
            <a:endParaRPr>
              <a:solidFill>
                <a:srgbClr val="32374B"/>
              </a:solidFill>
            </a:endParaRPr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32374B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785221-A51B-4371-B866-038075B34EEB}" type="slidenum">
              <a:rPr lang="nb-NO" smtClean="0">
                <a:solidFill>
                  <a:srgbClr val="32374B"/>
                </a:solidFill>
              </a:rPr>
              <a:pPr/>
              <a:t>‹#›</a:t>
            </a:fld>
            <a:endParaRPr lang="nb-NO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7469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ECD7F3-7E8F-4D6B-AE69-E3D8C82D39D0}" type="datetime1">
              <a:rPr lang="nb-NO">
                <a:solidFill>
                  <a:srgbClr val="32374B"/>
                </a:solidFill>
              </a:rPr>
              <a:pPr/>
              <a:t>21.09.2018</a:t>
            </a:fld>
            <a:endParaRPr>
              <a:solidFill>
                <a:srgbClr val="32374B"/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32374B"/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785221-A51B-4371-B866-038075B34EEB}" type="slidenum">
              <a:rPr lang="nb-NO" smtClean="0">
                <a:solidFill>
                  <a:srgbClr val="32374B"/>
                </a:solidFill>
              </a:rPr>
              <a:pPr/>
              <a:t>‹#›</a:t>
            </a:fld>
            <a:endParaRPr lang="nb-NO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605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679E61-6CDA-46D6-ACB8-519E4EFE598F}" type="datetime1">
              <a:rPr lang="nb-NO">
                <a:solidFill>
                  <a:srgbClr val="32374B"/>
                </a:solidFill>
              </a:rPr>
              <a:pPr/>
              <a:t>21.09.2018</a:t>
            </a:fld>
            <a:endParaRPr>
              <a:solidFill>
                <a:srgbClr val="32374B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32374B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785221-A51B-4371-B866-038075B34EEB}" type="slidenum">
              <a:rPr lang="nb-NO" smtClean="0">
                <a:solidFill>
                  <a:srgbClr val="32374B"/>
                </a:solidFill>
              </a:rPr>
              <a:pPr/>
              <a:t>‹#›</a:t>
            </a:fld>
            <a:endParaRPr lang="nb-NO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021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vadratisk bilde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714103" y="1221958"/>
            <a:ext cx="3651420" cy="2727842"/>
          </a:xfrm>
        </p:spPr>
        <p:txBody>
          <a:bodyPr/>
          <a:lstStyle>
            <a:lvl1pPr marL="0" indent="0">
              <a:buNone/>
              <a:defRPr sz="2990"/>
            </a:lvl1pPr>
            <a:lvl2pPr marL="427928" indent="0">
              <a:buNone/>
              <a:defRPr sz="2635"/>
            </a:lvl2pPr>
            <a:lvl3pPr marL="855857" indent="0">
              <a:buNone/>
              <a:defRPr sz="2229"/>
            </a:lvl3pPr>
            <a:lvl4pPr marL="1283785" indent="0">
              <a:buNone/>
              <a:defRPr sz="1875"/>
            </a:lvl4pPr>
            <a:lvl5pPr marL="1711713" indent="0">
              <a:buNone/>
              <a:defRPr sz="1875"/>
            </a:lvl5pPr>
            <a:lvl6pPr marL="2139642" indent="0">
              <a:buNone/>
              <a:defRPr sz="1875"/>
            </a:lvl6pPr>
            <a:lvl7pPr marL="2567570" indent="0">
              <a:buNone/>
              <a:defRPr sz="1875"/>
            </a:lvl7pPr>
            <a:lvl8pPr marL="2995498" indent="0">
              <a:buNone/>
              <a:defRPr sz="1875"/>
            </a:lvl8pPr>
            <a:lvl9pPr marL="3423427" indent="0">
              <a:buNone/>
              <a:defRPr sz="1875"/>
            </a:lvl9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BBB326-C9DB-41F5-A97C-5A5E6D2DC6AA}" type="datetime1">
              <a:rPr lang="nb-NO">
                <a:solidFill>
                  <a:srgbClr val="32374B"/>
                </a:solidFill>
              </a:rPr>
              <a:pPr/>
              <a:t>21.09.2018</a:t>
            </a:fld>
            <a:endParaRPr>
              <a:solidFill>
                <a:srgbClr val="32374B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32374B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785221-A51B-4371-B866-038075B34EEB}" type="slidenum">
              <a:rPr lang="nb-NO" smtClean="0">
                <a:solidFill>
                  <a:srgbClr val="32374B"/>
                </a:solidFill>
              </a:rPr>
              <a:pPr/>
              <a:t>‹#›</a:t>
            </a:fld>
            <a:endParaRPr lang="nb-NO">
              <a:solidFill>
                <a:srgbClr val="32374B"/>
              </a:solidFill>
            </a:endParaRPr>
          </a:p>
        </p:txBody>
      </p:sp>
      <p:sp>
        <p:nvSpPr>
          <p:cNvPr id="9" name="Plassholder for innhold 3"/>
          <p:cNvSpPr>
            <a:spLocks noGrp="1"/>
          </p:cNvSpPr>
          <p:nvPr>
            <p:ph sz="half" idx="2"/>
          </p:nvPr>
        </p:nvSpPr>
        <p:spPr>
          <a:xfrm>
            <a:off x="4716016" y="1059910"/>
            <a:ext cx="3970784" cy="2917225"/>
          </a:xfrm>
        </p:spPr>
        <p:txBody>
          <a:bodyPr>
            <a:normAutofit/>
          </a:bodyPr>
          <a:lstStyle>
            <a:lvl1pPr>
              <a:defRPr sz="1723"/>
            </a:lvl1pPr>
            <a:lvl2pPr>
              <a:defRPr sz="1723"/>
            </a:lvl2pPr>
            <a:lvl3pPr>
              <a:defRPr sz="1723"/>
            </a:lvl3pPr>
            <a:lvl4pPr>
              <a:defRPr sz="1723"/>
            </a:lvl4pPr>
            <a:lvl5pPr>
              <a:defRPr sz="1723"/>
            </a:lvl5pPr>
            <a:lvl6pPr>
              <a:defRPr sz="1672"/>
            </a:lvl6pPr>
            <a:lvl7pPr>
              <a:defRPr sz="1672"/>
            </a:lvl7pPr>
            <a:lvl8pPr>
              <a:defRPr sz="1672"/>
            </a:lvl8pPr>
            <a:lvl9pPr>
              <a:defRPr sz="1672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0" name="Tittel 1"/>
          <p:cNvSpPr>
            <a:spLocks noGrp="1"/>
          </p:cNvSpPr>
          <p:nvPr>
            <p:ph type="title"/>
          </p:nvPr>
        </p:nvSpPr>
        <p:spPr>
          <a:xfrm>
            <a:off x="611560" y="465660"/>
            <a:ext cx="8075240" cy="539967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15242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norama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714103" y="1221958"/>
            <a:ext cx="8034610" cy="2727842"/>
          </a:xfrm>
        </p:spPr>
        <p:txBody>
          <a:bodyPr/>
          <a:lstStyle>
            <a:lvl1pPr marL="0" indent="0">
              <a:buNone/>
              <a:defRPr sz="2990"/>
            </a:lvl1pPr>
            <a:lvl2pPr marL="427928" indent="0">
              <a:buNone/>
              <a:defRPr sz="2635"/>
            </a:lvl2pPr>
            <a:lvl3pPr marL="855857" indent="0">
              <a:buNone/>
              <a:defRPr sz="2229"/>
            </a:lvl3pPr>
            <a:lvl4pPr marL="1283785" indent="0">
              <a:buNone/>
              <a:defRPr sz="1875"/>
            </a:lvl4pPr>
            <a:lvl5pPr marL="1711713" indent="0">
              <a:buNone/>
              <a:defRPr sz="1875"/>
            </a:lvl5pPr>
            <a:lvl6pPr marL="2139642" indent="0">
              <a:buNone/>
              <a:defRPr sz="1875"/>
            </a:lvl6pPr>
            <a:lvl7pPr marL="2567570" indent="0">
              <a:buNone/>
              <a:defRPr sz="1875"/>
            </a:lvl7pPr>
            <a:lvl8pPr marL="2995498" indent="0">
              <a:buNone/>
              <a:defRPr sz="1875"/>
            </a:lvl8pPr>
            <a:lvl9pPr marL="3423427" indent="0">
              <a:buNone/>
              <a:defRPr sz="1875"/>
            </a:lvl9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C61551-16ED-42E6-8168-403CD9BC7ED9}" type="datetime1">
              <a:rPr lang="nb-NO">
                <a:solidFill>
                  <a:srgbClr val="32374B"/>
                </a:solidFill>
              </a:rPr>
              <a:pPr/>
              <a:t>21.09.2018</a:t>
            </a:fld>
            <a:endParaRPr>
              <a:solidFill>
                <a:srgbClr val="32374B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32374B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785221-A51B-4371-B866-038075B34EEB}" type="slidenum">
              <a:rPr lang="nb-NO" smtClean="0">
                <a:solidFill>
                  <a:srgbClr val="32374B"/>
                </a:solidFill>
              </a:rPr>
              <a:pPr/>
              <a:t>‹#›</a:t>
            </a:fld>
            <a:endParaRPr lang="nb-NO">
              <a:solidFill>
                <a:srgbClr val="32374B"/>
              </a:solidFill>
            </a:endParaRPr>
          </a:p>
        </p:txBody>
      </p:sp>
      <p:sp>
        <p:nvSpPr>
          <p:cNvPr id="10" name="Tittel 1"/>
          <p:cNvSpPr>
            <a:spLocks noGrp="1"/>
          </p:cNvSpPr>
          <p:nvPr>
            <p:ph type="title"/>
          </p:nvPr>
        </p:nvSpPr>
        <p:spPr>
          <a:xfrm>
            <a:off x="611560" y="465660"/>
            <a:ext cx="8075240" cy="539967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8536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BA80F7-8112-43C2-A19D-41C481BF6C1E}" type="datetime1">
              <a:rPr lang="nb-NO">
                <a:solidFill>
                  <a:srgbClr val="32374B"/>
                </a:solidFill>
              </a:rPr>
              <a:pPr/>
              <a:t>21.09.2018</a:t>
            </a:fld>
            <a:endParaRPr>
              <a:solidFill>
                <a:srgbClr val="32374B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32374B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785221-A51B-4371-B866-038075B34EEB}" type="slidenum">
              <a:rPr lang="nb-NO" smtClean="0">
                <a:solidFill>
                  <a:srgbClr val="32374B"/>
                </a:solidFill>
              </a:rPr>
              <a:pPr/>
              <a:t>‹#›</a:t>
            </a:fld>
            <a:endParaRPr lang="nb-NO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5080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6043"/>
            <a:ext cx="2057400" cy="4389999"/>
          </a:xfrm>
        </p:spPr>
        <p:txBody>
          <a:bodyPr vert="eaVert"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6043"/>
            <a:ext cx="6019800" cy="4389999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9814E-60DB-497D-AC8F-626DE3C914C7}" type="datetime1">
              <a:rPr lang="nb-NO">
                <a:solidFill>
                  <a:srgbClr val="32374B"/>
                </a:solidFill>
              </a:rPr>
              <a:pPr/>
              <a:t>21.09.2018</a:t>
            </a:fld>
            <a:endParaRPr>
              <a:solidFill>
                <a:srgbClr val="32374B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32374B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785221-A51B-4371-B866-038075B34EEB}" type="slidenum">
              <a:rPr lang="nb-NO" smtClean="0">
                <a:solidFill>
                  <a:srgbClr val="32374B"/>
                </a:solidFill>
              </a:rPr>
              <a:pPr/>
              <a:t>‹#›</a:t>
            </a:fld>
            <a:endParaRPr lang="nb-NO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9888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dekkende bilde med hvit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1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5088"/>
          </a:xfrm>
        </p:spPr>
        <p:txBody>
          <a:bodyPr>
            <a:normAutofit/>
          </a:bodyPr>
          <a:lstStyle>
            <a:lvl1pPr>
              <a:defRPr sz="1723" baseline="0">
                <a:solidFill>
                  <a:schemeClr val="bg1"/>
                </a:solidFill>
              </a:defRPr>
            </a:lvl1pPr>
          </a:lstStyle>
          <a:p>
            <a:r>
              <a:rPr lang="nb-NO" dirty="0">
                <a:solidFill>
                  <a:schemeClr val="bg1"/>
                </a:solidFill>
              </a:rPr>
              <a:t>Trykk på knappen midt i lysbildet for å sette inn heldekkende bilde</a:t>
            </a:r>
            <a:endParaRPr lang="nb-NO" dirty="0"/>
          </a:p>
        </p:txBody>
      </p:sp>
      <p:sp>
        <p:nvSpPr>
          <p:cNvPr id="21" name="Plassholder for tekst 20"/>
          <p:cNvSpPr>
            <a:spLocks noGrp="1"/>
          </p:cNvSpPr>
          <p:nvPr>
            <p:ph type="body" sz="quarter" idx="11" hasCustomPrompt="1"/>
          </p:nvPr>
        </p:nvSpPr>
        <p:spPr>
          <a:xfrm>
            <a:off x="7624800" y="4656237"/>
            <a:ext cx="1171709" cy="228025"/>
          </a:xfrm>
          <a:blipFill>
            <a:blip r:embed="rId2" cstate="print"/>
            <a:stretch>
              <a:fillRect/>
            </a:stretch>
          </a:blipFill>
        </p:spPr>
        <p:txBody>
          <a:bodyPr/>
          <a:lstStyle>
            <a:lvl1pPr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nb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00906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dekkende bilde med sort log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1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5088"/>
          </a:xfrm>
        </p:spPr>
        <p:txBody>
          <a:bodyPr>
            <a:normAutofit/>
          </a:bodyPr>
          <a:lstStyle>
            <a:lvl1pPr>
              <a:defRPr sz="1723" baseline="0">
                <a:solidFill>
                  <a:schemeClr val="tx1"/>
                </a:solidFill>
              </a:defRPr>
            </a:lvl1pPr>
          </a:lstStyle>
          <a:p>
            <a:r>
              <a:rPr lang="nb-NO" dirty="0">
                <a:solidFill>
                  <a:schemeClr val="bg1"/>
                </a:solidFill>
              </a:rPr>
              <a:t>Trykk på knappen midt i lysbildet for å sette inn heldekkende bilde</a:t>
            </a:r>
            <a:br>
              <a:rPr lang="nb-NO" dirty="0">
                <a:solidFill>
                  <a:schemeClr val="bg1"/>
                </a:solidFill>
              </a:rPr>
            </a:br>
            <a:endParaRPr lang="nb-NO" dirty="0"/>
          </a:p>
        </p:txBody>
      </p:sp>
      <p:sp>
        <p:nvSpPr>
          <p:cNvPr id="4" name="Plassholder for tekst 20"/>
          <p:cNvSpPr>
            <a:spLocks noGrp="1"/>
          </p:cNvSpPr>
          <p:nvPr>
            <p:ph type="body" sz="quarter" idx="12" hasCustomPrompt="1"/>
          </p:nvPr>
        </p:nvSpPr>
        <p:spPr>
          <a:xfrm>
            <a:off x="7624800" y="4656237"/>
            <a:ext cx="1171709" cy="228025"/>
          </a:xfrm>
          <a:blipFill>
            <a:blip r:embed="rId2" cstate="print"/>
            <a:stretch>
              <a:fillRect/>
            </a:stretch>
          </a:blipFill>
        </p:spPr>
        <p:txBody>
          <a:bodyPr/>
          <a:lstStyle>
            <a:lvl1pPr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nb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22778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om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lassholder for lysbildenummer 5"/>
          <p:cNvSpPr txBox="1">
            <a:spLocks/>
          </p:cNvSpPr>
          <p:nvPr userDrawn="1"/>
        </p:nvSpPr>
        <p:spPr>
          <a:xfrm>
            <a:off x="281486" y="4773109"/>
            <a:ext cx="450850" cy="209284"/>
          </a:xfrm>
          <a:prstGeom prst="rect">
            <a:avLst/>
          </a:prstGeom>
        </p:spPr>
        <p:txBody>
          <a:bodyPr vert="horz" lIns="92164" tIns="46082" rIns="92164" bIns="46082" rtlCol="0" anchor="ctr"/>
          <a:lstStyle>
            <a:defPPr>
              <a:defRPr lang="nb-NO"/>
            </a:defPPr>
            <a:lvl1pPr marL="0" algn="r" defTabSz="457200" rtl="0" eaLnBrk="1" latinLnBrk="0" hangingPunct="1"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Georgia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22914"/>
            <a:fld id="{83B4E45F-D134-8245-A94A-D2F709D4AD3D}" type="slidenum">
              <a:rPr lang="nb-NO" sz="304" b="1" kern="0" smtClean="0">
                <a:solidFill>
                  <a:srgbClr val="E60000"/>
                </a:solidFill>
              </a:rPr>
              <a:pPr defTabSz="822914"/>
              <a:t>‹#›</a:t>
            </a:fld>
            <a:endParaRPr lang="nb-NO" sz="304" b="1" kern="0" dirty="0">
              <a:solidFill>
                <a:srgbClr val="E60000"/>
              </a:solidFill>
            </a:endParaRPr>
          </a:p>
        </p:txBody>
      </p:sp>
      <p:sp>
        <p:nvSpPr>
          <p:cNvPr id="22" name="TekstSylinder 21"/>
          <p:cNvSpPr txBox="1"/>
          <p:nvPr userDrawn="1"/>
        </p:nvSpPr>
        <p:spPr>
          <a:xfrm>
            <a:off x="599487" y="4785389"/>
            <a:ext cx="684803" cy="168827"/>
          </a:xfrm>
          <a:prstGeom prst="rect">
            <a:avLst/>
          </a:prstGeom>
          <a:noFill/>
        </p:spPr>
        <p:txBody>
          <a:bodyPr wrap="square" lIns="82295" tIns="41147" rIns="82295" bIns="41147" rtlCol="0">
            <a:spAutoFit/>
          </a:bodyPr>
          <a:lstStyle/>
          <a:p>
            <a:pPr defTabSz="855857"/>
            <a:r>
              <a:rPr lang="nb-NO" sz="557" dirty="0">
                <a:solidFill>
                  <a:prstClr val="black">
                    <a:lumMod val="75000"/>
                    <a:lumOff val="25000"/>
                  </a:prstClr>
                </a:solidFill>
              </a:rPr>
              <a:t>av side 114</a:t>
            </a:r>
          </a:p>
        </p:txBody>
      </p:sp>
      <p:pic>
        <p:nvPicPr>
          <p:cNvPr id="5" name="Bilde 4" descr="Ruter_signatur_hel_roed_transparent_bakgrun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2250" y="4625638"/>
            <a:ext cx="985840" cy="378506"/>
          </a:xfrm>
          <a:prstGeom prst="rect">
            <a:avLst/>
          </a:prstGeom>
        </p:spPr>
      </p:pic>
      <p:sp>
        <p:nvSpPr>
          <p:cNvPr id="6" name="Plassholder for innhold 5"/>
          <p:cNvSpPr>
            <a:spLocks noGrp="1"/>
          </p:cNvSpPr>
          <p:nvPr>
            <p:ph sz="quarter" idx="10"/>
          </p:nvPr>
        </p:nvSpPr>
        <p:spPr>
          <a:xfrm>
            <a:off x="941388" y="4878306"/>
            <a:ext cx="914400" cy="914682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28752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dekkende bilde med hvit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1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5088"/>
          </a:xfrm>
        </p:spPr>
        <p:txBody>
          <a:bodyPr>
            <a:normAutofit/>
          </a:bodyPr>
          <a:lstStyle>
            <a:lvl1pPr>
              <a:defRPr sz="1500" baseline="0">
                <a:solidFill>
                  <a:schemeClr val="bg1"/>
                </a:solidFill>
              </a:defRPr>
            </a:lvl1pPr>
          </a:lstStyle>
          <a:p>
            <a:r>
              <a:rPr lang="nb-NO" dirty="0">
                <a:solidFill>
                  <a:schemeClr val="bg1"/>
                </a:solidFill>
              </a:rPr>
              <a:t>Trykk på knappen midt i lysbildet for å sette inn heldekkende bilde</a:t>
            </a:r>
            <a:endParaRPr lang="nb-NO" dirty="0"/>
          </a:p>
        </p:txBody>
      </p:sp>
      <p:sp>
        <p:nvSpPr>
          <p:cNvPr id="21" name="Plassholder for tekst 20"/>
          <p:cNvSpPr>
            <a:spLocks noGrp="1"/>
          </p:cNvSpPr>
          <p:nvPr>
            <p:ph type="body" sz="quarter" idx="11" hasCustomPrompt="1"/>
          </p:nvPr>
        </p:nvSpPr>
        <p:spPr>
          <a:xfrm>
            <a:off x="7624845" y="4656258"/>
            <a:ext cx="1171709" cy="22802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nb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9461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om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lassholder for lysbildenummer 5"/>
          <p:cNvSpPr txBox="1">
            <a:spLocks/>
          </p:cNvSpPr>
          <p:nvPr userDrawn="1"/>
        </p:nvSpPr>
        <p:spPr>
          <a:xfrm>
            <a:off x="281486" y="4773109"/>
            <a:ext cx="450850" cy="209284"/>
          </a:xfrm>
          <a:prstGeom prst="rect">
            <a:avLst/>
          </a:prstGeom>
        </p:spPr>
        <p:txBody>
          <a:bodyPr vert="horz" lIns="92153" tIns="46076" rIns="92153" bIns="46076" rtlCol="0" anchor="ctr"/>
          <a:lstStyle>
            <a:defPPr>
              <a:defRPr lang="nb-NO"/>
            </a:defPPr>
            <a:lvl1pPr marL="0" algn="r" defTabSz="457200" rtl="0" eaLnBrk="1" latinLnBrk="0" hangingPunct="1"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Georgia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22822" fontAlgn="base">
              <a:spcBef>
                <a:spcPct val="0"/>
              </a:spcBef>
              <a:spcAft>
                <a:spcPct val="0"/>
              </a:spcAft>
            </a:pPr>
            <a:fld id="{83B4E45F-D134-8245-A94A-D2F709D4AD3D}" type="slidenum">
              <a:rPr lang="nb-NO" sz="990" b="1" kern="0" smtClean="0">
                <a:solidFill>
                  <a:srgbClr val="E60000"/>
                </a:solidFill>
              </a:rPr>
              <a:pPr defTabSz="82282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nb-NO" sz="990" b="1" kern="0" dirty="0">
              <a:solidFill>
                <a:srgbClr val="E60000"/>
              </a:solidFill>
            </a:endParaRPr>
          </a:p>
        </p:txBody>
      </p:sp>
      <p:pic>
        <p:nvPicPr>
          <p:cNvPr id="5" name="Bilde 4" descr="Ruter_signatur_hel_roed_transparent_bakgrun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2250" y="4625637"/>
            <a:ext cx="985840" cy="378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1204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AE7D21-FE41-485D-ACEF-CE0AB8190516}" type="datetimeFigureOut">
              <a:rPr lang="nb-NO" smtClean="0"/>
              <a:t>21.09.2018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AC5EE8-97B5-4BBE-90F8-65E568A1C69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9225783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4" y="1171"/>
            <a:ext cx="9139889" cy="5142775"/>
          </a:xfrm>
          <a:prstGeom prst="rect">
            <a:avLst/>
          </a:prstGeom>
        </p:spPr>
      </p:pic>
      <p:pic>
        <p:nvPicPr>
          <p:cNvPr id="14" name="Bilde 13" descr="Logo-hvi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0088" y="4664266"/>
            <a:ext cx="1159780" cy="222386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ktangel 9"/>
          <p:cNvSpPr/>
          <p:nvPr userDrawn="1"/>
        </p:nvSpPr>
        <p:spPr>
          <a:xfrm>
            <a:off x="467546" y="843842"/>
            <a:ext cx="8280920" cy="1512634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6" tIns="45588" rIns="91186" bIns="45588" rtlCol="0" anchor="ctr"/>
          <a:lstStyle/>
          <a:p>
            <a:pPr algn="ctr" defTabSz="911848"/>
            <a:endParaRPr lang="nb-NO" sz="1350" dirty="0">
              <a:solidFill>
                <a:srgbClr val="FFFFFF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11560" y="1095951"/>
            <a:ext cx="7772400" cy="612256"/>
          </a:xfrm>
        </p:spPr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560" y="1708222"/>
            <a:ext cx="7777162" cy="648849"/>
          </a:xfrm>
        </p:spPr>
        <p:txBody>
          <a:bodyPr>
            <a:normAutofit/>
          </a:bodyPr>
          <a:lstStyle>
            <a:lvl1pPr marL="0" indent="0">
              <a:buNone/>
              <a:defRPr sz="1800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nb-NO" dirty="0"/>
              <a:t>Klikk for å legge til sted og dato</a:t>
            </a:r>
            <a:br>
              <a:rPr lang="nb-NO" dirty="0"/>
            </a:br>
            <a:r>
              <a:rPr lang="nb-NO" dirty="0"/>
              <a:t>og fornavn, etternavn og stillingstittel</a:t>
            </a:r>
          </a:p>
        </p:txBody>
      </p:sp>
    </p:spTree>
    <p:extLst>
      <p:ext uri="{BB962C8B-B14F-4D97-AF65-F5344CB8AC3E}">
        <p14:creationId xmlns:p14="http://schemas.microsoft.com/office/powerpoint/2010/main" val="21203736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0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33056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11188" y="1059910"/>
            <a:ext cx="3744788" cy="3536131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716016" y="1059910"/>
            <a:ext cx="3970784" cy="3536131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656618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11188" y="1059950"/>
            <a:ext cx="3744788" cy="642019"/>
          </a:xfrm>
        </p:spPr>
        <p:txBody>
          <a:bodyPr anchor="t"/>
          <a:lstStyle>
            <a:lvl1pPr marL="0" indent="0">
              <a:buNone/>
              <a:defRPr sz="2400" b="1"/>
            </a:lvl1pPr>
            <a:lvl2pPr marL="455921" indent="0">
              <a:buNone/>
              <a:defRPr sz="2000" b="1"/>
            </a:lvl2pPr>
            <a:lvl3pPr marL="911848" indent="0">
              <a:buNone/>
              <a:defRPr sz="1800" b="1"/>
            </a:lvl3pPr>
            <a:lvl4pPr marL="1367773" indent="0">
              <a:buNone/>
              <a:defRPr sz="1600" b="1"/>
            </a:lvl4pPr>
            <a:lvl5pPr marL="1823699" indent="0">
              <a:buNone/>
              <a:defRPr sz="1600" b="1"/>
            </a:lvl5pPr>
            <a:lvl6pPr marL="2279621" indent="0">
              <a:buNone/>
              <a:defRPr sz="1600" b="1"/>
            </a:lvl6pPr>
            <a:lvl7pPr marL="2735548" indent="0">
              <a:buNone/>
              <a:defRPr sz="1600" b="1"/>
            </a:lvl7pPr>
            <a:lvl8pPr marL="3191469" indent="0">
              <a:buNone/>
              <a:defRPr sz="1600" b="1"/>
            </a:lvl8pPr>
            <a:lvl9pPr marL="3647395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1188" y="1708182"/>
            <a:ext cx="3744788" cy="288785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716058" y="1059909"/>
            <a:ext cx="4032697" cy="64827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921" indent="0">
              <a:buNone/>
              <a:defRPr sz="2000" b="1"/>
            </a:lvl2pPr>
            <a:lvl3pPr marL="911848" indent="0">
              <a:buNone/>
              <a:defRPr sz="1800" b="1"/>
            </a:lvl3pPr>
            <a:lvl4pPr marL="1367773" indent="0">
              <a:buNone/>
              <a:defRPr sz="1600" b="1"/>
            </a:lvl4pPr>
            <a:lvl5pPr marL="1823699" indent="0">
              <a:buNone/>
              <a:defRPr sz="1600" b="1"/>
            </a:lvl5pPr>
            <a:lvl6pPr marL="2279621" indent="0">
              <a:buNone/>
              <a:defRPr sz="1600" b="1"/>
            </a:lvl6pPr>
            <a:lvl7pPr marL="2735548" indent="0">
              <a:buNone/>
              <a:defRPr sz="1600" b="1"/>
            </a:lvl7pPr>
            <a:lvl8pPr marL="3191469" indent="0">
              <a:buNone/>
              <a:defRPr sz="1600" b="1"/>
            </a:lvl8pPr>
            <a:lvl9pPr marL="3647395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716016" y="1631671"/>
            <a:ext cx="3970784" cy="296438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>
          <a:xfrm>
            <a:off x="1115616" y="4680115"/>
            <a:ext cx="1008112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endParaRPr lang="en-US" dirty="0">
              <a:solidFill>
                <a:srgbClr val="32374B"/>
              </a:solidFill>
            </a:endParaRPr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>
          <a:xfrm>
            <a:off x="2195736" y="4680115"/>
            <a:ext cx="5184576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r>
              <a:rPr lang="en-US">
                <a:solidFill>
                  <a:srgbClr val="32374B"/>
                </a:solidFill>
              </a:rPr>
              <a:t>Bunntekst</a:t>
            </a: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>
          <a:xfrm>
            <a:off x="611188" y="4679428"/>
            <a:ext cx="405408" cy="216091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fld id="{7B785221-A51B-4371-B866-038075B34EEB}" type="slidenum">
              <a:rPr lang="nb-NO" smtClean="0">
                <a:solidFill>
                  <a:srgbClr val="32374B"/>
                </a:solidFill>
              </a:rPr>
              <a:pPr defTabSz="911949"/>
              <a:t>‹#›</a:t>
            </a:fld>
            <a:endParaRPr lang="nb-NO" dirty="0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9926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ødtekst med pun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11227" y="1059909"/>
            <a:ext cx="8137525" cy="1458612"/>
          </a:xfrm>
        </p:spPr>
        <p:txBody>
          <a:bodyPr tIns="71798" anchor="t">
            <a:normAutofit/>
          </a:bodyPr>
          <a:lstStyle>
            <a:lvl1pPr marL="0" indent="0">
              <a:buNone/>
              <a:defRPr sz="2400" b="0"/>
            </a:lvl1pPr>
            <a:lvl2pPr marL="455921" indent="0">
              <a:buNone/>
              <a:defRPr sz="2000" b="1"/>
            </a:lvl2pPr>
            <a:lvl3pPr marL="911848" indent="0">
              <a:buNone/>
              <a:defRPr sz="1800" b="1"/>
            </a:lvl3pPr>
            <a:lvl4pPr marL="1367773" indent="0">
              <a:buNone/>
              <a:defRPr sz="1600" b="1"/>
            </a:lvl4pPr>
            <a:lvl5pPr marL="1823699" indent="0">
              <a:buNone/>
              <a:defRPr sz="1600" b="1"/>
            </a:lvl5pPr>
            <a:lvl6pPr marL="2279621" indent="0">
              <a:buNone/>
              <a:defRPr sz="1600" b="1"/>
            </a:lvl6pPr>
            <a:lvl7pPr marL="2735548" indent="0">
              <a:buNone/>
              <a:defRPr sz="1600" b="1"/>
            </a:lvl7pPr>
            <a:lvl8pPr marL="3191469" indent="0">
              <a:buNone/>
              <a:defRPr sz="1600" b="1"/>
            </a:lvl8pPr>
            <a:lvl9pPr marL="3647395" indent="0">
              <a:buNone/>
              <a:defRPr sz="1600" b="1"/>
            </a:lvl9pPr>
          </a:lstStyle>
          <a:p>
            <a:pPr lvl="0"/>
            <a:r>
              <a:rPr lang="nb-NO" dirty="0"/>
              <a:t>Klikk for å skrive brødtekst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1227" y="2572557"/>
            <a:ext cx="8137525" cy="202349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>
          <a:xfrm>
            <a:off x="1115616" y="4680115"/>
            <a:ext cx="1008112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endParaRPr lang="en-US" dirty="0">
              <a:solidFill>
                <a:srgbClr val="32374B"/>
              </a:solidFill>
            </a:endParaRPr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>
          <a:xfrm>
            <a:off x="2195736" y="4680115"/>
            <a:ext cx="5184576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r>
              <a:rPr lang="en-US">
                <a:solidFill>
                  <a:srgbClr val="32374B"/>
                </a:solidFill>
              </a:rPr>
              <a:t>Bunntekst</a:t>
            </a: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>
          <a:xfrm>
            <a:off x="611188" y="4679428"/>
            <a:ext cx="405408" cy="216091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fld id="{7B785221-A51B-4371-B866-038075B34EEB}" type="slidenum">
              <a:rPr lang="nb-NO" smtClean="0">
                <a:solidFill>
                  <a:srgbClr val="32374B"/>
                </a:solidFill>
              </a:rPr>
              <a:pPr defTabSz="911949"/>
              <a:t>‹#›</a:t>
            </a:fld>
            <a:endParaRPr lang="nb-NO" dirty="0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9515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>
          <a:xfrm>
            <a:off x="1115616" y="4680115"/>
            <a:ext cx="1008112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endParaRPr lang="en-US" dirty="0">
              <a:solidFill>
                <a:srgbClr val="32374B"/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xfrm>
            <a:off x="2195736" y="4680115"/>
            <a:ext cx="5184576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r>
              <a:rPr lang="en-US">
                <a:solidFill>
                  <a:srgbClr val="32374B"/>
                </a:solidFill>
              </a:rPr>
              <a:t>Bunntekst</a:t>
            </a: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>
          <a:xfrm>
            <a:off x="611188" y="4679428"/>
            <a:ext cx="405408" cy="216091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fld id="{7B785221-A51B-4371-B866-038075B34EEB}" type="slidenum">
              <a:rPr lang="nb-NO" smtClean="0">
                <a:solidFill>
                  <a:srgbClr val="32374B"/>
                </a:solidFill>
              </a:rPr>
              <a:pPr defTabSz="911949"/>
              <a:t>‹#›</a:t>
            </a:fld>
            <a:endParaRPr lang="nb-NO" dirty="0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400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1115616" y="4680115"/>
            <a:ext cx="1008112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endParaRPr lang="en-US" dirty="0">
              <a:solidFill>
                <a:srgbClr val="32374B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>
          <a:xfrm>
            <a:off x="2195736" y="4680115"/>
            <a:ext cx="5184576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r>
              <a:rPr lang="en-US">
                <a:solidFill>
                  <a:srgbClr val="32374B"/>
                </a:solidFill>
              </a:rPr>
              <a:t>Bunntekst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>
          <a:xfrm>
            <a:off x="611188" y="4679428"/>
            <a:ext cx="405408" cy="216091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fld id="{7B785221-A51B-4371-B866-038075B34EEB}" type="slidenum">
              <a:rPr lang="nb-NO" smtClean="0">
                <a:solidFill>
                  <a:srgbClr val="32374B"/>
                </a:solidFill>
              </a:rPr>
              <a:pPr defTabSz="911949"/>
              <a:t>‹#›</a:t>
            </a:fld>
            <a:endParaRPr lang="nb-NO" dirty="0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3683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vadratisk bilde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714108" y="1221958"/>
            <a:ext cx="3651420" cy="2727842"/>
          </a:xfrm>
        </p:spPr>
        <p:txBody>
          <a:bodyPr/>
          <a:lstStyle>
            <a:lvl1pPr marL="0" indent="0">
              <a:buNone/>
              <a:defRPr sz="3200"/>
            </a:lvl1pPr>
            <a:lvl2pPr marL="455921" indent="0">
              <a:buNone/>
              <a:defRPr sz="2800"/>
            </a:lvl2pPr>
            <a:lvl3pPr marL="911848" indent="0">
              <a:buNone/>
              <a:defRPr sz="2400"/>
            </a:lvl3pPr>
            <a:lvl4pPr marL="1367773" indent="0">
              <a:buNone/>
              <a:defRPr sz="2000"/>
            </a:lvl4pPr>
            <a:lvl5pPr marL="1823699" indent="0">
              <a:buNone/>
              <a:defRPr sz="2000"/>
            </a:lvl5pPr>
            <a:lvl6pPr marL="2279621" indent="0">
              <a:buNone/>
              <a:defRPr sz="2000"/>
            </a:lvl6pPr>
            <a:lvl7pPr marL="2735548" indent="0">
              <a:buNone/>
              <a:defRPr sz="2000"/>
            </a:lvl7pPr>
            <a:lvl8pPr marL="3191469" indent="0">
              <a:buNone/>
              <a:defRPr sz="2000"/>
            </a:lvl8pPr>
            <a:lvl9pPr marL="3647395" indent="0">
              <a:buNone/>
              <a:defRPr sz="2000"/>
            </a:lvl9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1115616" y="4680115"/>
            <a:ext cx="1008112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endParaRPr lang="en-US" dirty="0">
              <a:solidFill>
                <a:srgbClr val="32374B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2195736" y="4680115"/>
            <a:ext cx="5184576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r>
              <a:rPr lang="en-US">
                <a:solidFill>
                  <a:srgbClr val="32374B"/>
                </a:solidFill>
              </a:rPr>
              <a:t>Bunntekst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611188" y="4679428"/>
            <a:ext cx="405408" cy="216091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fld id="{7B785221-A51B-4371-B866-038075B34EEB}" type="slidenum">
              <a:rPr lang="nb-NO" smtClean="0">
                <a:solidFill>
                  <a:srgbClr val="32374B"/>
                </a:solidFill>
              </a:rPr>
              <a:pPr defTabSz="911949"/>
              <a:t>‹#›</a:t>
            </a:fld>
            <a:endParaRPr lang="nb-NO" dirty="0">
              <a:solidFill>
                <a:srgbClr val="32374B"/>
              </a:solidFill>
            </a:endParaRPr>
          </a:p>
        </p:txBody>
      </p:sp>
      <p:sp>
        <p:nvSpPr>
          <p:cNvPr id="9" name="Plassholder for innhold 3"/>
          <p:cNvSpPr>
            <a:spLocks noGrp="1"/>
          </p:cNvSpPr>
          <p:nvPr>
            <p:ph sz="half" idx="2"/>
          </p:nvPr>
        </p:nvSpPr>
        <p:spPr>
          <a:xfrm>
            <a:off x="4716016" y="1059910"/>
            <a:ext cx="3970784" cy="2917224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Tittel 1"/>
          <p:cNvSpPr>
            <a:spLocks noGrp="1"/>
          </p:cNvSpPr>
          <p:nvPr>
            <p:ph type="title"/>
          </p:nvPr>
        </p:nvSpPr>
        <p:spPr>
          <a:xfrm>
            <a:off x="611560" y="465672"/>
            <a:ext cx="8075240" cy="539967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925762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dekkende bilde med sort log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1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5088"/>
          </a:xfrm>
        </p:spPr>
        <p:txBody>
          <a:bodyPr>
            <a:normAutofit/>
          </a:bodyPr>
          <a:lstStyle>
            <a:lvl1pPr>
              <a:defRPr sz="1500" baseline="0">
                <a:solidFill>
                  <a:schemeClr val="tx1"/>
                </a:solidFill>
              </a:defRPr>
            </a:lvl1pPr>
          </a:lstStyle>
          <a:p>
            <a:r>
              <a:rPr lang="nb-NO" dirty="0">
                <a:solidFill>
                  <a:schemeClr val="bg1"/>
                </a:solidFill>
              </a:rPr>
              <a:t>Trykk på knappen midt i lysbildet for å sette inn heldekkende bilde</a:t>
            </a:r>
            <a:br>
              <a:rPr lang="nb-NO" dirty="0">
                <a:solidFill>
                  <a:schemeClr val="bg1"/>
                </a:solidFill>
              </a:rPr>
            </a:br>
            <a:endParaRPr lang="nb-NO" dirty="0"/>
          </a:p>
        </p:txBody>
      </p:sp>
      <p:sp>
        <p:nvSpPr>
          <p:cNvPr id="4" name="Plassholder for tekst 20"/>
          <p:cNvSpPr>
            <a:spLocks noGrp="1"/>
          </p:cNvSpPr>
          <p:nvPr>
            <p:ph type="body" sz="quarter" idx="12" hasCustomPrompt="1"/>
          </p:nvPr>
        </p:nvSpPr>
        <p:spPr>
          <a:xfrm>
            <a:off x="7624845" y="4656258"/>
            <a:ext cx="1171709" cy="22802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nb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05875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norama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714109" y="1221958"/>
            <a:ext cx="8034610" cy="2727842"/>
          </a:xfrm>
        </p:spPr>
        <p:txBody>
          <a:bodyPr/>
          <a:lstStyle>
            <a:lvl1pPr marL="0" indent="0">
              <a:buNone/>
              <a:defRPr sz="3200"/>
            </a:lvl1pPr>
            <a:lvl2pPr marL="455921" indent="0">
              <a:buNone/>
              <a:defRPr sz="2800"/>
            </a:lvl2pPr>
            <a:lvl3pPr marL="911848" indent="0">
              <a:buNone/>
              <a:defRPr sz="2400"/>
            </a:lvl3pPr>
            <a:lvl4pPr marL="1367773" indent="0">
              <a:buNone/>
              <a:defRPr sz="2000"/>
            </a:lvl4pPr>
            <a:lvl5pPr marL="1823699" indent="0">
              <a:buNone/>
              <a:defRPr sz="2000"/>
            </a:lvl5pPr>
            <a:lvl6pPr marL="2279621" indent="0">
              <a:buNone/>
              <a:defRPr sz="2000"/>
            </a:lvl6pPr>
            <a:lvl7pPr marL="2735548" indent="0">
              <a:buNone/>
              <a:defRPr sz="2000"/>
            </a:lvl7pPr>
            <a:lvl8pPr marL="3191469" indent="0">
              <a:buNone/>
              <a:defRPr sz="2000"/>
            </a:lvl8pPr>
            <a:lvl9pPr marL="3647395" indent="0">
              <a:buNone/>
              <a:defRPr sz="2000"/>
            </a:lvl9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1115616" y="4680115"/>
            <a:ext cx="1008112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endParaRPr lang="en-US" dirty="0">
              <a:solidFill>
                <a:srgbClr val="32374B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2195736" y="4680115"/>
            <a:ext cx="5184576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r>
              <a:rPr lang="en-US">
                <a:solidFill>
                  <a:srgbClr val="32374B"/>
                </a:solidFill>
              </a:rPr>
              <a:t>Bunntekst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611188" y="4679428"/>
            <a:ext cx="405408" cy="216091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fld id="{7B785221-A51B-4371-B866-038075B34EEB}" type="slidenum">
              <a:rPr lang="nb-NO" smtClean="0">
                <a:solidFill>
                  <a:srgbClr val="32374B"/>
                </a:solidFill>
              </a:rPr>
              <a:pPr defTabSz="911949"/>
              <a:t>‹#›</a:t>
            </a:fld>
            <a:endParaRPr lang="nb-NO" dirty="0">
              <a:solidFill>
                <a:srgbClr val="32374B"/>
              </a:solidFill>
            </a:endParaRPr>
          </a:p>
        </p:txBody>
      </p:sp>
      <p:sp>
        <p:nvSpPr>
          <p:cNvPr id="10" name="Tittel 1"/>
          <p:cNvSpPr>
            <a:spLocks noGrp="1"/>
          </p:cNvSpPr>
          <p:nvPr>
            <p:ph type="title"/>
          </p:nvPr>
        </p:nvSpPr>
        <p:spPr>
          <a:xfrm>
            <a:off x="611560" y="465672"/>
            <a:ext cx="8075240" cy="539967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16174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115616" y="4680115"/>
            <a:ext cx="1008112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endParaRPr lang="en-US" dirty="0">
              <a:solidFill>
                <a:srgbClr val="32374B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2195736" y="4680115"/>
            <a:ext cx="5184576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r>
              <a:rPr lang="en-US">
                <a:solidFill>
                  <a:srgbClr val="32374B"/>
                </a:solidFill>
              </a:rPr>
              <a:t>Bunntekst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611188" y="4679428"/>
            <a:ext cx="405408" cy="216091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fld id="{7B785221-A51B-4371-B866-038075B34EEB}" type="slidenum">
              <a:rPr lang="nb-NO" smtClean="0">
                <a:solidFill>
                  <a:srgbClr val="32374B"/>
                </a:solidFill>
              </a:rPr>
              <a:pPr defTabSz="911949"/>
              <a:t>‹#›</a:t>
            </a:fld>
            <a:endParaRPr lang="nb-NO" dirty="0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3892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6056"/>
            <a:ext cx="2057400" cy="4389999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6056"/>
            <a:ext cx="6019800" cy="4389999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115616" y="4680115"/>
            <a:ext cx="1008112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endParaRPr lang="en-US" dirty="0">
              <a:solidFill>
                <a:srgbClr val="32374B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2195736" y="4680115"/>
            <a:ext cx="5184576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r>
              <a:rPr lang="en-US">
                <a:solidFill>
                  <a:srgbClr val="32374B"/>
                </a:solidFill>
              </a:rPr>
              <a:t>Bunntekst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611188" y="4679428"/>
            <a:ext cx="405408" cy="216091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fld id="{7B785221-A51B-4371-B866-038075B34EEB}" type="slidenum">
              <a:rPr lang="nb-NO" smtClean="0">
                <a:solidFill>
                  <a:srgbClr val="32374B"/>
                </a:solidFill>
              </a:rPr>
              <a:pPr defTabSz="911949"/>
              <a:t>‹#›</a:t>
            </a:fld>
            <a:endParaRPr lang="nb-NO" dirty="0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8615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dekkende bilde med hvit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1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5088"/>
          </a:xfrm>
        </p:spPr>
        <p:txBody>
          <a:bodyPr>
            <a:normAutofit/>
          </a:bodyPr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r>
              <a:rPr lang="nb-NO" dirty="0">
                <a:solidFill>
                  <a:schemeClr val="bg1"/>
                </a:solidFill>
              </a:rPr>
              <a:t>Trykk på knappen midt i lysbildet for å sette inn heldekkende bilde</a:t>
            </a:r>
            <a:endParaRPr lang="nb-NO" dirty="0"/>
          </a:p>
        </p:txBody>
      </p:sp>
      <p:sp>
        <p:nvSpPr>
          <p:cNvPr id="21" name="Plassholder for tekst 20"/>
          <p:cNvSpPr>
            <a:spLocks noGrp="1"/>
          </p:cNvSpPr>
          <p:nvPr>
            <p:ph type="body" sz="quarter" idx="11" hasCustomPrompt="1"/>
          </p:nvPr>
        </p:nvSpPr>
        <p:spPr>
          <a:xfrm>
            <a:off x="7624843" y="4656258"/>
            <a:ext cx="1171709" cy="22802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nb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87137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dekkende bilde med sort log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1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5088"/>
          </a:xfrm>
        </p:spPr>
        <p:txBody>
          <a:bodyPr>
            <a:normAutofit/>
          </a:bodyPr>
          <a:lstStyle>
            <a:lvl1pPr>
              <a:defRPr sz="2000" baseline="0">
                <a:solidFill>
                  <a:schemeClr val="tx1"/>
                </a:solidFill>
              </a:defRPr>
            </a:lvl1pPr>
          </a:lstStyle>
          <a:p>
            <a:r>
              <a:rPr lang="nb-NO" dirty="0">
                <a:solidFill>
                  <a:schemeClr val="bg1"/>
                </a:solidFill>
              </a:rPr>
              <a:t>Trykk på knappen midt i lysbildet for å sette inn heldekkende bilde</a:t>
            </a:r>
            <a:br>
              <a:rPr lang="nb-NO" dirty="0">
                <a:solidFill>
                  <a:schemeClr val="bg1"/>
                </a:solidFill>
              </a:rPr>
            </a:br>
            <a:endParaRPr lang="nb-NO" dirty="0"/>
          </a:p>
        </p:txBody>
      </p:sp>
      <p:sp>
        <p:nvSpPr>
          <p:cNvPr id="4" name="Plassholder for tekst 20"/>
          <p:cNvSpPr>
            <a:spLocks noGrp="1"/>
          </p:cNvSpPr>
          <p:nvPr>
            <p:ph type="body" sz="quarter" idx="12" hasCustomPrompt="1"/>
          </p:nvPr>
        </p:nvSpPr>
        <p:spPr>
          <a:xfrm>
            <a:off x="7624843" y="4656258"/>
            <a:ext cx="1171709" cy="22802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nb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92632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41" y="1082"/>
          <a:ext cx="144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41" y="1082"/>
                        <a:ext cx="1440" cy="1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auto">
          <a:xfrm>
            <a:off x="11209" y="776068"/>
            <a:ext cx="9144000" cy="372422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1395" tIns="40700" rIns="81395" bIns="40700" numCol="1" rtlCol="0" anchor="ctr" anchorCtr="0" compatLnSpc="1">
            <a:prstTxWarp prst="textNoShape">
              <a:avLst/>
            </a:prstTxWarp>
          </a:bodyPr>
          <a:lstStyle/>
          <a:p>
            <a:pPr defTabSz="362886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en-US" sz="1500">
              <a:solidFill>
                <a:srgbClr val="FFFFFF"/>
              </a:solidFill>
              <a:ea typeface="SimSun" pitchFamily="2" charset="-122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5778" y="171134"/>
            <a:ext cx="8621909" cy="50386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l">
              <a:lnSpc>
                <a:spcPct val="100000"/>
              </a:lnSpc>
              <a:defRPr sz="1900" b="1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5778" y="1151300"/>
            <a:ext cx="8621909" cy="3185545"/>
          </a:xfrm>
          <a:prstGeom prst="rect">
            <a:avLst/>
          </a:prstGeom>
        </p:spPr>
        <p:txBody>
          <a:bodyPr/>
          <a:lstStyle>
            <a:lvl1pPr marL="150026" indent="-150026" algn="l">
              <a:buFont typeface="Wingdings" pitchFamily="2" charset="2"/>
              <a:buChar char="§"/>
              <a:defRPr sz="1000">
                <a:solidFill>
                  <a:schemeClr val="tx1"/>
                </a:solidFill>
              </a:defRPr>
            </a:lvl1pPr>
            <a:lvl2pPr marL="509064" indent="-139768" algn="l">
              <a:buFont typeface="Wingdings" pitchFamily="2" charset="2"/>
              <a:buChar char="§"/>
              <a:defRPr sz="1000">
                <a:solidFill>
                  <a:schemeClr val="tx1"/>
                </a:solidFill>
              </a:defRPr>
            </a:lvl2pPr>
            <a:lvl3pPr marL="938622" indent="-200035" algn="l">
              <a:buFont typeface="Wingdings" pitchFamily="2" charset="2"/>
              <a:buChar char="§"/>
              <a:defRPr sz="1000">
                <a:solidFill>
                  <a:schemeClr val="tx1"/>
                </a:solidFill>
              </a:defRPr>
            </a:lvl3pPr>
            <a:lvl4pPr algn="l">
              <a:buFont typeface="Wingdings" pitchFamily="2" charset="2"/>
              <a:buChar char="§"/>
              <a:defRPr sz="1000">
                <a:solidFill>
                  <a:schemeClr val="tx1"/>
                </a:solidFill>
              </a:defRPr>
            </a:lvl4pPr>
            <a:lvl5pPr algn="l">
              <a:buFont typeface="Wingdings" pitchFamily="2" charset="2"/>
              <a:buChar char="§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7250061" y="4827478"/>
            <a:ext cx="1044383" cy="273353"/>
          </a:xfrm>
          <a:prstGeom prst="rect">
            <a:avLst/>
          </a:prstGeom>
        </p:spPr>
        <p:txBody>
          <a:bodyPr lIns="91197" tIns="45594" rIns="91197" bIns="45594"/>
          <a:lstStyle>
            <a:lvl1pPr algn="r">
              <a:defRPr sz="1000" b="1" smtClean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defTabSz="911949">
              <a:defRPr/>
            </a:pPr>
            <a:endParaRPr lang="en-US" dirty="0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828838" y="4827478"/>
            <a:ext cx="5421217" cy="273353"/>
          </a:xfrm>
          <a:prstGeom prst="rect">
            <a:avLst/>
          </a:prstGeom>
        </p:spPr>
        <p:txBody>
          <a:bodyPr lIns="91197" tIns="45594" rIns="91197" bIns="45594"/>
          <a:lstStyle>
            <a:lvl1pPr marL="150026" indent="-150026" algn="l">
              <a:defRPr sz="600" b="0" dirty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509064" indent="-509064" defTabSz="911949">
              <a:defRPr/>
            </a:pPr>
            <a:r>
              <a:rPr lang="en-US">
                <a:solidFill>
                  <a:prstClr val="black">
                    <a:lumMod val="85000"/>
                    <a:lumOff val="15000"/>
                  </a:prstClr>
                </a:solidFill>
              </a:rPr>
              <a:t>Bunntekst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25441" y="4827478"/>
            <a:ext cx="588960" cy="273353"/>
          </a:xfrm>
          <a:prstGeom prst="rect">
            <a:avLst/>
          </a:prstGeom>
        </p:spPr>
        <p:txBody>
          <a:bodyPr lIns="91197" tIns="45594" rIns="91197" bIns="45594"/>
          <a:lstStyle>
            <a:lvl1pPr algn="r">
              <a:defRPr sz="1000" b="1" smtClean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defTabSz="911949">
              <a:defRPr/>
            </a:pPr>
            <a:fld id="{6129956D-6D5E-40ED-B4C2-BE386F84BC3B}" type="slidenum">
              <a:rPr lang="en-US" smtClean="0">
                <a:solidFill>
                  <a:prstClr val="black">
                    <a:lumMod val="85000"/>
                    <a:lumOff val="15000"/>
                  </a:prstClr>
                </a:solidFill>
              </a:rPr>
              <a:pPr defTabSz="911949">
                <a:defRPr/>
              </a:pPr>
              <a:t>‹#›</a:t>
            </a:fld>
            <a:endParaRPr lang="en-US" dirty="0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195871" y="857572"/>
            <a:ext cx="8621797" cy="195712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13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add subject title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 bwMode="auto">
          <a:xfrm>
            <a:off x="11209" y="767643"/>
            <a:ext cx="9144000" cy="0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554671108"/>
      </p:ext>
    </p:extLst>
  </p:cSld>
  <p:clrMapOvr>
    <a:masterClrMapping/>
  </p:clrMapOvr>
  <p:transition spd="med"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57201" y="1036178"/>
            <a:ext cx="8228012" cy="3619428"/>
          </a:xfrm>
          <a:noFill/>
          <a:ln w="3175">
            <a:noFill/>
          </a:ln>
        </p:spPr>
        <p:txBody>
          <a:bodyPr>
            <a:noAutofit/>
          </a:bodyPr>
          <a:lstStyle>
            <a:lvl1pPr>
              <a:defRPr sz="1400">
                <a:latin typeface="Calibri" pitchFamily="34" charset="0"/>
                <a:cs typeface="Calibri" pitchFamily="34" charset="0"/>
              </a:defRPr>
            </a:lvl1pPr>
            <a:lvl2pPr marL="356237" indent="-178905">
              <a:defRPr sz="1400">
                <a:latin typeface="Calibri" pitchFamily="34" charset="0"/>
                <a:cs typeface="Calibri" pitchFamily="34" charset="0"/>
              </a:defRPr>
            </a:lvl2pPr>
            <a:lvl3pPr marL="533556" indent="-177325">
              <a:defRPr sz="1400">
                <a:latin typeface="Calibri" pitchFamily="34" charset="0"/>
                <a:cs typeface="Calibri" pitchFamily="34" charset="0"/>
              </a:defRPr>
            </a:lvl3pPr>
            <a:lvl4pPr marL="712461" indent="-178905">
              <a:defRPr sz="1400">
                <a:latin typeface="Calibri" pitchFamily="34" charset="0"/>
                <a:cs typeface="Calibri" pitchFamily="34" charset="0"/>
              </a:defRPr>
            </a:lvl4pPr>
            <a:lvl5pPr>
              <a:defRPr sz="1400">
                <a:latin typeface="Calibri" pitchFamily="34" charset="0"/>
                <a:cs typeface="Calibri" pitchFamily="34" charset="0"/>
              </a:defRPr>
            </a:lvl5pPr>
            <a:lvl8pPr marL="3191823" indent="0">
              <a:buNone/>
              <a:defRPr/>
            </a:lvl8pPr>
          </a:lstStyle>
          <a:p>
            <a:pPr lvl="0"/>
            <a:r>
              <a:rPr lang="nb-NO" dirty="0"/>
              <a:t>Text</a:t>
            </a:r>
          </a:p>
          <a:p>
            <a:pPr lvl="1"/>
            <a:r>
              <a:rPr lang="nb-NO" dirty="0"/>
              <a:t>Text</a:t>
            </a:r>
          </a:p>
          <a:p>
            <a:pPr lvl="2"/>
            <a:r>
              <a:rPr lang="nb-NO" dirty="0"/>
              <a:t>Text</a:t>
            </a:r>
          </a:p>
          <a:p>
            <a:pPr lvl="3"/>
            <a:r>
              <a:rPr lang="nb-NO" dirty="0"/>
              <a:t>Tex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7994" y="750326"/>
            <a:ext cx="8686006" cy="0"/>
          </a:xfrm>
          <a:prstGeom prst="line">
            <a:avLst/>
          </a:prstGeom>
          <a:ln w="12700">
            <a:solidFill>
              <a:srgbClr val="E6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000">
                <a:solidFill>
                  <a:srgbClr val="E60000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nb-NO"/>
              <a:t>Master Title Slide Headline</a:t>
            </a:r>
            <a:endParaRPr lang="nb-NO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7497940" y="4923736"/>
            <a:ext cx="536400" cy="18365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 defTabSz="911949"/>
            <a:fld id="{597A8DCA-8F96-49CD-B4D5-7AC92F955860}" type="slidenum">
              <a:rPr lang="nb-NO" sz="900">
                <a:solidFill>
                  <a:srgbClr val="7F7F7F"/>
                </a:solidFill>
                <a:latin typeface="Calibri" pitchFamily="34" charset="0"/>
                <a:cs typeface="Calibri" pitchFamily="34" charset="0"/>
              </a:rPr>
              <a:pPr algn="r" defTabSz="911949"/>
              <a:t>‹#›</a:t>
            </a:fld>
            <a:endParaRPr lang="nb-NO" sz="900" dirty="0">
              <a:solidFill>
                <a:srgbClr val="7F7F7F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8842" y="750342"/>
            <a:ext cx="8205261" cy="257254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363636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1026" name="Picture 2" descr="http://ruter.no/Global/ruter_logo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7038" y="4938201"/>
            <a:ext cx="866775" cy="150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457201" y="4923736"/>
            <a:ext cx="7416000" cy="183657"/>
          </a:xfrm>
        </p:spPr>
        <p:txBody>
          <a:bodyPr anchor="b">
            <a:noAutofit/>
          </a:bodyPr>
          <a:lstStyle>
            <a:lvl1pPr marL="0" indent="0">
              <a:buNone/>
              <a:defRPr sz="9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nb-NO"/>
              <a:t>Kilde: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9779353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tel og innhold - hvit bun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799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1999"/>
            </a:lvl1pPr>
            <a:lvl2pPr>
              <a:defRPr sz="1999"/>
            </a:lvl2pPr>
            <a:lvl3pPr>
              <a:defRPr sz="1999"/>
            </a:lvl3pPr>
            <a:lvl4pPr>
              <a:defRPr sz="1999"/>
            </a:lvl4pPr>
            <a:lvl5pPr>
              <a:defRPr sz="1999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60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pPr defTabSz="455971"/>
            <a:fld id="{304AD70F-8AF0-406B-B894-62E0F3D04367}" type="slidenum">
              <a:rPr lang="nb-NO" smtClean="0"/>
              <a:pPr defTabSz="455971"/>
              <a:t>‹#›</a:t>
            </a:fld>
            <a:endParaRPr lang="nb-NO" dirty="0"/>
          </a:p>
        </p:txBody>
      </p:sp>
      <p:sp>
        <p:nvSpPr>
          <p:cNvPr id="9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4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pPr defTabSz="455971"/>
            <a:r>
              <a:rPr lang="nb-NO"/>
              <a:t>Bunntekst</a:t>
            </a:r>
            <a:endParaRPr lang="nb-NO" dirty="0"/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9912" y="4737775"/>
            <a:ext cx="820800" cy="177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818090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6538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10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4" name="Bild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8259468"/>
      </p:ext>
    </p:extLst>
  </p:cSld>
  <p:clrMapOvr>
    <a:masterClrMapping/>
  </p:clrMapOvr>
  <p:transition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 med mulighet for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solidFill>
            <a:schemeClr val="tx1">
              <a:alpha val="20000"/>
            </a:schemeClr>
          </a:solid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10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4" name="Bild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4130" y="4643754"/>
            <a:ext cx="1487427" cy="493777"/>
          </a:xfrm>
          <a:prstGeom prst="rect">
            <a:avLst/>
          </a:prstGeom>
        </p:spPr>
      </p:pic>
      <p:sp>
        <p:nvSpPr>
          <p:cNvPr id="2" name="TekstSylinder 1"/>
          <p:cNvSpPr txBox="1"/>
          <p:nvPr userDrawn="1"/>
        </p:nvSpPr>
        <p:spPr>
          <a:xfrm>
            <a:off x="-894" y="-594109"/>
            <a:ext cx="9282054" cy="507831"/>
          </a:xfrm>
          <a:prstGeom prst="rect">
            <a:avLst/>
          </a:prstGeom>
          <a:solidFill>
            <a:schemeClr val="accent5"/>
          </a:solidFill>
        </p:spPr>
        <p:txBody>
          <a:bodyPr wrap="square" rtlCol="0">
            <a:spAutoFit/>
          </a:bodyPr>
          <a:lstStyle/>
          <a:p>
            <a:r>
              <a:rPr lang="nb-NO" b="1" dirty="0"/>
              <a:t>Dette lysbildet skal kun brukes med bakgrunnsbilde.</a:t>
            </a:r>
          </a:p>
          <a:p>
            <a:r>
              <a:rPr lang="nb-NO" b="1" dirty="0"/>
              <a:t>Høyreklikk </a:t>
            </a:r>
            <a:r>
              <a:rPr lang="nb-NO" b="1" baseline="0" dirty="0"/>
              <a:t>på lysbildet og velg «Formater bakgrunn» -&gt; «Bilde eller tekstur» -&gt; «Fil» for å sette inn et bilde.</a:t>
            </a:r>
            <a:endParaRPr lang="nb-NO" b="1" dirty="0"/>
          </a:p>
        </p:txBody>
      </p:sp>
    </p:spTree>
    <p:extLst>
      <p:ext uri="{BB962C8B-B14F-4D97-AF65-F5344CB8AC3E}">
        <p14:creationId xmlns:p14="http://schemas.microsoft.com/office/powerpoint/2010/main" val="106668988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41" y="1082"/>
          <a:ext cx="144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41" y="1082"/>
                        <a:ext cx="1440" cy="1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auto">
          <a:xfrm>
            <a:off x="11209" y="776068"/>
            <a:ext cx="9144000" cy="372422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1046" tIns="30525" rIns="61046" bIns="30525" numCol="1" rtlCol="0" anchor="ctr" anchorCtr="0" compatLnSpc="1">
            <a:prstTxWarp prst="textNoShape">
              <a:avLst/>
            </a:prstTxWarp>
          </a:bodyPr>
          <a:lstStyle/>
          <a:p>
            <a:pPr defTabSz="272165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en-US" sz="1125">
              <a:solidFill>
                <a:srgbClr val="FFFFFF"/>
              </a:solidFill>
              <a:ea typeface="SimSun" pitchFamily="2" charset="-122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5780" y="171134"/>
            <a:ext cx="8621909" cy="50386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l">
              <a:lnSpc>
                <a:spcPct val="100000"/>
              </a:lnSpc>
              <a:defRPr sz="1425" b="1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5780" y="1151300"/>
            <a:ext cx="8621909" cy="3185545"/>
          </a:xfrm>
          <a:prstGeom prst="rect">
            <a:avLst/>
          </a:prstGeom>
        </p:spPr>
        <p:txBody>
          <a:bodyPr/>
          <a:lstStyle>
            <a:lvl1pPr marL="112520" indent="-112520" algn="l">
              <a:buFont typeface="Wingdings" pitchFamily="2" charset="2"/>
              <a:buChar char="§"/>
              <a:defRPr sz="750">
                <a:solidFill>
                  <a:schemeClr val="tx1"/>
                </a:solidFill>
              </a:defRPr>
            </a:lvl1pPr>
            <a:lvl2pPr marL="381798" indent="-104826" algn="l">
              <a:buFont typeface="Wingdings" pitchFamily="2" charset="2"/>
              <a:buChar char="§"/>
              <a:defRPr sz="750">
                <a:solidFill>
                  <a:schemeClr val="tx1"/>
                </a:solidFill>
              </a:defRPr>
            </a:lvl2pPr>
            <a:lvl3pPr marL="703967" indent="-150026" algn="l">
              <a:buFont typeface="Wingdings" pitchFamily="2" charset="2"/>
              <a:buChar char="§"/>
              <a:defRPr sz="750">
                <a:solidFill>
                  <a:schemeClr val="tx1"/>
                </a:solidFill>
              </a:defRPr>
            </a:lvl3pPr>
            <a:lvl4pPr algn="l">
              <a:buFont typeface="Wingdings" pitchFamily="2" charset="2"/>
              <a:buChar char="§"/>
              <a:defRPr sz="750">
                <a:solidFill>
                  <a:schemeClr val="tx1"/>
                </a:solidFill>
              </a:defRPr>
            </a:lvl4pPr>
            <a:lvl5pPr algn="l">
              <a:buFont typeface="Wingdings" pitchFamily="2" charset="2"/>
              <a:buChar char="§"/>
              <a:defRPr sz="750">
                <a:solidFill>
                  <a:schemeClr val="tx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7250061" y="4827479"/>
            <a:ext cx="1044383" cy="273353"/>
          </a:xfrm>
          <a:prstGeom prst="rect">
            <a:avLst/>
          </a:prstGeom>
        </p:spPr>
        <p:txBody>
          <a:bodyPr lIns="91197" tIns="45594" rIns="91197" bIns="45594"/>
          <a:lstStyle>
            <a:lvl1pPr algn="r">
              <a:defRPr sz="750" b="1" smtClean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defTabSz="683962">
              <a:defRPr/>
            </a:pPr>
            <a:fld id="{C91976CA-5F44-41E6-9D8D-1F37A3950364}" type="datetime1">
              <a:rPr lang="en-US">
                <a:solidFill>
                  <a:prstClr val="black">
                    <a:lumMod val="85000"/>
                    <a:lumOff val="15000"/>
                  </a:prstClr>
                </a:solidFill>
              </a:rPr>
              <a:pPr defTabSz="683962">
                <a:defRPr/>
              </a:pPr>
              <a:t>9/21/2018</a:t>
            </a:fld>
            <a:endParaRPr lang="en-US" dirty="0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828840" y="4827479"/>
            <a:ext cx="5421217" cy="273353"/>
          </a:xfrm>
          <a:prstGeom prst="rect">
            <a:avLst/>
          </a:prstGeom>
        </p:spPr>
        <p:txBody>
          <a:bodyPr lIns="91197" tIns="45594" rIns="91197" bIns="45594"/>
          <a:lstStyle>
            <a:lvl1pPr marL="112520" indent="-112520" algn="l">
              <a:defRPr sz="450" b="0" dirty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381798" indent="-381798" defTabSz="683962">
              <a:defRPr/>
            </a:pPr>
            <a:r>
              <a:rPr lang="en-US">
                <a:solidFill>
                  <a:prstClr val="black">
                    <a:lumMod val="85000"/>
                    <a:lumOff val="15000"/>
                  </a:prstClr>
                </a:solidFill>
              </a:rPr>
              <a:t>*	Footer</a:t>
            </a:r>
          </a:p>
          <a:p>
            <a:pPr marL="381798" indent="-381798" defTabSz="683962">
              <a:defRPr/>
            </a:pPr>
            <a:r>
              <a:rPr lang="en-US">
                <a:solidFill>
                  <a:prstClr val="black">
                    <a:lumMod val="85000"/>
                    <a:lumOff val="15000"/>
                  </a:prstClr>
                </a:solidFill>
              </a:rPr>
              <a:t>Source:	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25441" y="4827479"/>
            <a:ext cx="588960" cy="273353"/>
          </a:xfrm>
          <a:prstGeom prst="rect">
            <a:avLst/>
          </a:prstGeom>
        </p:spPr>
        <p:txBody>
          <a:bodyPr lIns="91197" tIns="45594" rIns="91197" bIns="45594"/>
          <a:lstStyle>
            <a:lvl1pPr algn="r">
              <a:defRPr sz="750" b="1" smtClean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defTabSz="683962">
              <a:defRPr/>
            </a:pPr>
            <a:fld id="{6129956D-6D5E-40ED-B4C2-BE386F84BC3B}" type="slidenum">
              <a:rPr lang="en-US">
                <a:solidFill>
                  <a:prstClr val="black">
                    <a:lumMod val="85000"/>
                    <a:lumOff val="15000"/>
                  </a:prstClr>
                </a:solidFill>
              </a:rPr>
              <a:pPr defTabSz="683962">
                <a:defRPr/>
              </a:pPr>
              <a:t>‹#›</a:t>
            </a:fld>
            <a:endParaRPr lang="en-US" dirty="0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195873" y="857572"/>
            <a:ext cx="8621797" cy="195712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975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add subject title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 bwMode="auto">
          <a:xfrm>
            <a:off x="11209" y="767643"/>
            <a:ext cx="9144000" cy="0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024242345"/>
      </p:ext>
    </p:extLst>
  </p:cSld>
  <p:clrMapOvr>
    <a:masterClrMapping/>
  </p:clrMapOvr>
  <p:transition spd="med"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solidFill>
            <a:schemeClr val="tx1">
              <a:alpha val="20000"/>
            </a:schemeClr>
          </a:solid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12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209027"/>
      </p:ext>
    </p:extLst>
  </p:cSld>
  <p:clrMapOvr>
    <a:masterClrMapping/>
  </p:clrMapOvr>
  <p:transition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solidFill>
            <a:schemeClr val="tx1">
              <a:alpha val="20000"/>
            </a:schemeClr>
          </a:solid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732628"/>
      </p:ext>
    </p:extLst>
  </p:cSld>
  <p:clrMapOvr>
    <a:masterClrMapping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 #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solidFill>
            <a:schemeClr val="tx1">
              <a:alpha val="20000"/>
            </a:schemeClr>
          </a:solid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4233254"/>
      </p:ext>
    </p:extLst>
  </p:cSld>
  <p:clrMapOvr>
    <a:masterClrMapping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 #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solidFill>
            <a:schemeClr val="tx1">
              <a:alpha val="20000"/>
            </a:schemeClr>
          </a:solid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97579"/>
      </p:ext>
    </p:extLst>
  </p:cSld>
  <p:clrMapOvr>
    <a:masterClrMapping/>
  </p:clrMapOvr>
  <p:transition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 #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solidFill>
            <a:schemeClr val="tx1">
              <a:alpha val="20000"/>
            </a:schemeClr>
          </a:solid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2640301"/>
      </p:ext>
    </p:extLst>
  </p:cSld>
  <p:clrMapOvr>
    <a:masterClrMapping/>
  </p:clrMapOvr>
  <p:transition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 #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solidFill>
            <a:schemeClr val="tx1">
              <a:alpha val="20000"/>
            </a:schemeClr>
          </a:solid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038983"/>
      </p:ext>
    </p:extLst>
  </p:cSld>
  <p:clrMapOvr>
    <a:masterClrMapping/>
  </p:clrMapOvr>
  <p:transition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 #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solidFill>
            <a:schemeClr val="tx1">
              <a:alpha val="20000"/>
            </a:schemeClr>
          </a:solid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3" name="Bild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854225"/>
      </p:ext>
    </p:extLst>
  </p:cSld>
  <p:clrMapOvr>
    <a:masterClrMapping/>
  </p:clrMapOvr>
  <p:transition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 #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solidFill>
            <a:schemeClr val="tx1">
              <a:alpha val="20000"/>
            </a:schemeClr>
          </a:solid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779978"/>
      </p:ext>
    </p:extLst>
  </p:cSld>
  <p:clrMapOvr>
    <a:masterClrMapping/>
  </p:clrMapOvr>
  <p:transition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 #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solidFill>
            <a:schemeClr val="tx1">
              <a:alpha val="20000"/>
            </a:schemeClr>
          </a:solid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7741318"/>
      </p:ext>
    </p:extLst>
  </p:cSld>
  <p:clrMapOvr>
    <a:masterClrMapping/>
  </p:clrMapOvr>
  <p:transition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 Byb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solidFill>
            <a:schemeClr val="tx1">
              <a:alpha val="20000"/>
            </a:schemeClr>
          </a:solid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431967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57201" y="1036179"/>
            <a:ext cx="8228012" cy="3619428"/>
          </a:xfrm>
          <a:noFill/>
          <a:ln w="3175">
            <a:noFill/>
          </a:ln>
        </p:spPr>
        <p:txBody>
          <a:bodyPr>
            <a:noAutofit/>
          </a:bodyPr>
          <a:lstStyle>
            <a:lvl1pPr>
              <a:defRPr sz="1050">
                <a:latin typeface="Calibri" pitchFamily="34" charset="0"/>
                <a:cs typeface="Calibri" pitchFamily="34" charset="0"/>
              </a:defRPr>
            </a:lvl1pPr>
            <a:lvl2pPr marL="267178" indent="-134179">
              <a:defRPr sz="1050">
                <a:latin typeface="Calibri" pitchFamily="34" charset="0"/>
                <a:cs typeface="Calibri" pitchFamily="34" charset="0"/>
              </a:defRPr>
            </a:lvl2pPr>
            <a:lvl3pPr marL="400167" indent="-132994">
              <a:defRPr sz="1050">
                <a:latin typeface="Calibri" pitchFamily="34" charset="0"/>
                <a:cs typeface="Calibri" pitchFamily="34" charset="0"/>
              </a:defRPr>
            </a:lvl3pPr>
            <a:lvl4pPr marL="534346" indent="-134179">
              <a:defRPr sz="1050">
                <a:latin typeface="Calibri" pitchFamily="34" charset="0"/>
                <a:cs typeface="Calibri" pitchFamily="34" charset="0"/>
              </a:defRPr>
            </a:lvl4pPr>
            <a:lvl5pPr>
              <a:defRPr sz="1050">
                <a:latin typeface="Calibri" pitchFamily="34" charset="0"/>
                <a:cs typeface="Calibri" pitchFamily="34" charset="0"/>
              </a:defRPr>
            </a:lvl5pPr>
            <a:lvl8pPr marL="2393867" indent="0">
              <a:buNone/>
              <a:defRPr/>
            </a:lvl8pPr>
          </a:lstStyle>
          <a:p>
            <a:pPr lvl="0"/>
            <a:r>
              <a:rPr lang="nb-NO" dirty="0"/>
              <a:t>Text</a:t>
            </a:r>
          </a:p>
          <a:p>
            <a:pPr lvl="1"/>
            <a:r>
              <a:rPr lang="nb-NO" dirty="0"/>
              <a:t>Text</a:t>
            </a:r>
          </a:p>
          <a:p>
            <a:pPr lvl="2"/>
            <a:r>
              <a:rPr lang="nb-NO" dirty="0"/>
              <a:t>Text</a:t>
            </a:r>
          </a:p>
          <a:p>
            <a:pPr lvl="3"/>
            <a:r>
              <a:rPr lang="nb-NO" dirty="0"/>
              <a:t>Tex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7994" y="750326"/>
            <a:ext cx="8686006" cy="0"/>
          </a:xfrm>
          <a:prstGeom prst="line">
            <a:avLst/>
          </a:prstGeom>
          <a:ln w="12700">
            <a:solidFill>
              <a:srgbClr val="E6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1500">
                <a:solidFill>
                  <a:srgbClr val="E60000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nb-NO"/>
              <a:t>Master Title Slide Headline</a:t>
            </a:r>
            <a:endParaRPr lang="nb-NO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7497940" y="4923736"/>
            <a:ext cx="536400" cy="18365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 defTabSz="683962"/>
            <a:fld id="{597A8DCA-8F96-49CD-B4D5-7AC92F955860}" type="slidenum">
              <a:rPr lang="nb-NO" sz="675">
                <a:solidFill>
                  <a:srgbClr val="7F7F7F"/>
                </a:solidFill>
                <a:latin typeface="Calibri" pitchFamily="34" charset="0"/>
                <a:cs typeface="Calibri" pitchFamily="34" charset="0"/>
              </a:rPr>
              <a:pPr algn="r" defTabSz="683962"/>
              <a:t>‹#›</a:t>
            </a:fld>
            <a:endParaRPr lang="nb-NO" sz="675" dirty="0">
              <a:solidFill>
                <a:srgbClr val="7F7F7F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8844" y="750342"/>
            <a:ext cx="8205261" cy="257254"/>
          </a:xfrm>
        </p:spPr>
        <p:txBody>
          <a:bodyPr anchor="ctr">
            <a:normAutofit/>
          </a:bodyPr>
          <a:lstStyle>
            <a:lvl1pPr marL="0" indent="0">
              <a:buNone/>
              <a:defRPr sz="1200" b="1">
                <a:solidFill>
                  <a:srgbClr val="363636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1026" name="Picture 2" descr="http://ruter.no/Global/ruter_logo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7040" y="4938202"/>
            <a:ext cx="866775" cy="150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457201" y="4923736"/>
            <a:ext cx="7416000" cy="183657"/>
          </a:xfrm>
        </p:spPr>
        <p:txBody>
          <a:bodyPr anchor="b">
            <a:noAutofit/>
          </a:bodyPr>
          <a:lstStyle>
            <a:lvl1pPr marL="0" indent="0">
              <a:buNone/>
              <a:defRPr sz="675"/>
            </a:lvl1pPr>
            <a:lvl2pPr>
              <a:defRPr sz="750"/>
            </a:lvl2pPr>
            <a:lvl3pPr>
              <a:defRPr sz="750"/>
            </a:lvl3pPr>
            <a:lvl4pPr>
              <a:defRPr sz="750"/>
            </a:lvl4pPr>
            <a:lvl5pPr>
              <a:defRPr sz="750"/>
            </a:lvl5pPr>
          </a:lstStyle>
          <a:p>
            <a:pPr lvl="0"/>
            <a:r>
              <a:rPr lang="nb-NO"/>
              <a:t>Kilde: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42826163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 Bå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solidFill>
            <a:schemeClr val="tx1">
              <a:alpha val="20000"/>
            </a:schemeClr>
          </a:solid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8637029"/>
      </p:ext>
    </p:extLst>
  </p:cSld>
  <p:clrMapOvr>
    <a:masterClrMapping/>
  </p:clrMapOvr>
  <p:transition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 Me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solidFill>
            <a:schemeClr val="tx1">
              <a:alpha val="20000"/>
            </a:schemeClr>
          </a:solid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6115245"/>
      </p:ext>
    </p:extLst>
  </p:cSld>
  <p:clrMapOvr>
    <a:masterClrMapping/>
  </p:clrMapOvr>
  <p:transition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 Regionb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solidFill>
            <a:schemeClr val="tx1">
              <a:alpha val="20000"/>
            </a:schemeClr>
          </a:solid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8464349"/>
      </p:ext>
    </p:extLst>
  </p:cSld>
  <p:clrMapOvr>
    <a:masterClrMapping/>
  </p:clrMapOvr>
  <p:transition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 Trik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solidFill>
            <a:schemeClr val="tx1">
              <a:alpha val="20000"/>
            </a:schemeClr>
          </a:solid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829125"/>
      </p:ext>
    </p:extLst>
  </p:cSld>
  <p:clrMapOvr>
    <a:masterClrMapping/>
  </p:clrMapOvr>
  <p:transition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 Forbru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solidFill>
            <a:schemeClr val="tx1">
              <a:alpha val="20000"/>
            </a:schemeClr>
          </a:solid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4946564"/>
      </p:ext>
    </p:extLst>
  </p:cSld>
  <p:clrMapOvr>
    <a:masterClrMapping/>
  </p:clrMapOvr>
  <p:transition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 Forbruker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solidFill>
            <a:schemeClr val="tx1">
              <a:alpha val="20000"/>
            </a:schemeClr>
          </a:solid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514622"/>
      </p:ext>
    </p:extLst>
  </p:cSld>
  <p:clrMapOvr>
    <a:masterClrMapping/>
  </p:clrMapOvr>
  <p:transition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 Forbruker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solidFill>
            <a:schemeClr val="tx1">
              <a:alpha val="20000"/>
            </a:schemeClr>
          </a:solid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87046"/>
      </p:ext>
    </p:extLst>
  </p:cSld>
  <p:clrMapOvr>
    <a:masterClrMapping/>
  </p:clrMapOvr>
  <p:transition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 Billet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solidFill>
            <a:schemeClr val="tx1">
              <a:alpha val="20000"/>
            </a:schemeClr>
          </a:solid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8261725"/>
      </p:ext>
    </p:extLst>
  </p:cSld>
  <p:clrMapOvr>
    <a:masterClrMapping/>
  </p:clrMapOvr>
  <p:transition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8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9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20651520"/>
      </p:ext>
    </p:extLst>
  </p:cSld>
  <p:clrMapOvr>
    <a:masterClrMapping/>
  </p:clrMapOvr>
  <p:transition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Kapittelside Mørk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314"/>
            <a:ext cx="9145535" cy="5147402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2059233"/>
            <a:ext cx="7886700" cy="523220"/>
          </a:xfrm>
        </p:spPr>
        <p:txBody>
          <a:bodyPr anchor="b"/>
          <a:lstStyle>
            <a:lvl1pPr algn="ctr">
              <a:lnSpc>
                <a:spcPct val="100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0180068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159"/>
            <a:ext cx="9144000" cy="5142775"/>
          </a:xfrm>
          <a:prstGeom prst="rect">
            <a:avLst/>
          </a:prstGeom>
        </p:spPr>
      </p:pic>
      <p:pic>
        <p:nvPicPr>
          <p:cNvPr id="14" name="Bilde 13" descr="Logo-hvi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0088" y="4664263"/>
            <a:ext cx="1159780" cy="222386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ktangel 9"/>
          <p:cNvSpPr/>
          <p:nvPr userDrawn="1"/>
        </p:nvSpPr>
        <p:spPr>
          <a:xfrm>
            <a:off x="467546" y="843820"/>
            <a:ext cx="8280920" cy="2070869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36" tIns="45663" rIns="91336" bIns="45663" rtlCol="0" anchor="ctr"/>
          <a:lstStyle/>
          <a:p>
            <a:pPr algn="ctr" defTabSz="913363"/>
            <a:endParaRPr lang="nb-NO" sz="1800" dirty="0">
              <a:solidFill>
                <a:srgbClr val="FFFFFF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11188" y="1600160"/>
            <a:ext cx="7772400" cy="612256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11188" y="915849"/>
            <a:ext cx="7777236" cy="648272"/>
          </a:xfrm>
        </p:spPr>
        <p:txBody>
          <a:bodyPr>
            <a:no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</a:defRPr>
            </a:lvl1pPr>
            <a:lvl2pPr marL="4566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0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7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4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67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4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115616" y="4680103"/>
            <a:ext cx="1008112" cy="2192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581C18-EA37-4CF0-B552-8B4D7030CD98}" type="datetime1">
              <a:rPr lang="en-US" smtClean="0">
                <a:solidFill>
                  <a:srgbClr val="FFFFFF"/>
                </a:solidFill>
              </a:rPr>
              <a:pPr/>
              <a:t>9/21/2018</a:t>
            </a:fld>
            <a:endParaRPr dirty="0">
              <a:solidFill>
                <a:srgbClr val="FFFFFF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2195736" y="4680103"/>
            <a:ext cx="5184576" cy="2192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dirty="0">
              <a:solidFill>
                <a:srgbClr val="FFFFFF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611188" y="4679428"/>
            <a:ext cx="405408" cy="2160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785221-A51B-4371-B866-038075B34EEB}" type="slidenum">
              <a:rPr lang="nb-NO" smtClean="0">
                <a:solidFill>
                  <a:srgbClr val="FFFFFF"/>
                </a:solidFill>
              </a:rPr>
              <a:pPr/>
              <a:t>‹#›</a:t>
            </a:fld>
            <a:endParaRPr lang="nb-NO" dirty="0">
              <a:solidFill>
                <a:srgbClr val="FFFFFF"/>
              </a:solidFill>
            </a:endParaRPr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188" y="2212416"/>
            <a:ext cx="7777162" cy="648849"/>
          </a:xfrm>
        </p:spPr>
        <p:txBody>
          <a:bodyPr>
            <a:normAutofit/>
          </a:bodyPr>
          <a:lstStyle>
            <a:lvl1pPr marL="0" indent="0">
              <a:buNone/>
              <a:defRPr sz="1800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nb-NO" dirty="0"/>
              <a:t>Klikk for å legge til sted og dato</a:t>
            </a:r>
            <a:br>
              <a:rPr lang="nb-NO" dirty="0"/>
            </a:br>
            <a:r>
              <a:rPr lang="nb-NO" dirty="0"/>
              <a:t>og fornavn, etternavn og stillingstittel</a:t>
            </a:r>
          </a:p>
        </p:txBody>
      </p:sp>
    </p:spTree>
    <p:extLst>
      <p:ext uri="{BB962C8B-B14F-4D97-AF65-F5344CB8AC3E}">
        <p14:creationId xmlns:p14="http://schemas.microsoft.com/office/powerpoint/2010/main" val="3205202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Kapittelside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557"/>
            <a:ext cx="9145535" cy="5145887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2059233"/>
            <a:ext cx="7886700" cy="523220"/>
          </a:xfrm>
        </p:spPr>
        <p:txBody>
          <a:bodyPr anchor="b"/>
          <a:lstStyle>
            <a:lvl1pPr algn="ctr">
              <a:lnSpc>
                <a:spcPct val="100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2217536"/>
      </p:ext>
    </p:extLst>
  </p:cSld>
  <p:clrMapOvr>
    <a:masterClrMapping/>
  </p:clrMapOvr>
  <p:transition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Kapittelside Gr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1557"/>
            <a:ext cx="9145533" cy="5145887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2059233"/>
            <a:ext cx="7886700" cy="523220"/>
          </a:xfrm>
        </p:spPr>
        <p:txBody>
          <a:bodyPr anchor="b"/>
          <a:lstStyle>
            <a:lvl1pPr algn="ctr">
              <a:lnSpc>
                <a:spcPct val="100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6496869"/>
      </p:ext>
    </p:extLst>
  </p:cSld>
  <p:clrMapOvr>
    <a:masterClrMapping/>
  </p:clrMapOvr>
  <p:transition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Kapittelside Mørk Gr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1557"/>
            <a:ext cx="9145533" cy="5145886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2059233"/>
            <a:ext cx="7886700" cy="523220"/>
          </a:xfrm>
        </p:spPr>
        <p:txBody>
          <a:bodyPr anchor="b"/>
          <a:lstStyle>
            <a:lvl1pPr algn="ctr">
              <a:lnSpc>
                <a:spcPct val="100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659941"/>
      </p:ext>
    </p:extLst>
  </p:cSld>
  <p:clrMapOvr>
    <a:masterClrMapping/>
  </p:clrMapOvr>
  <p:transition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Kapittelsid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-1557"/>
            <a:ext cx="9145531" cy="5145886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2059233"/>
            <a:ext cx="7886700" cy="523220"/>
          </a:xfrm>
        </p:spPr>
        <p:txBody>
          <a:bodyPr anchor="b"/>
          <a:lstStyle>
            <a:lvl1pPr algn="ctr">
              <a:lnSpc>
                <a:spcPct val="100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765649"/>
      </p:ext>
    </p:extLst>
  </p:cSld>
  <p:clrMapOvr>
    <a:masterClrMapping/>
  </p:clrMapOvr>
  <p:transition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Kapittelside G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-1557"/>
            <a:ext cx="9145531" cy="5145885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2059233"/>
            <a:ext cx="7886700" cy="523220"/>
          </a:xfrm>
        </p:spPr>
        <p:txBody>
          <a:bodyPr anchor="b"/>
          <a:lstStyle>
            <a:lvl1pPr algn="ctr">
              <a:lnSpc>
                <a:spcPct val="100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6626694"/>
      </p:ext>
    </p:extLst>
  </p:cSld>
  <p:clrMapOvr>
    <a:masterClrMapping/>
  </p:clrMapOvr>
  <p:transition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Kapittelside 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-1557"/>
            <a:ext cx="9145530" cy="5145885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2059233"/>
            <a:ext cx="7886700" cy="523220"/>
          </a:xfrm>
        </p:spPr>
        <p:txBody>
          <a:bodyPr anchor="b"/>
          <a:lstStyle>
            <a:lvl1pPr algn="ctr">
              <a:lnSpc>
                <a:spcPct val="100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257647"/>
      </p:ext>
    </p:extLst>
  </p:cSld>
  <p:clrMapOvr>
    <a:masterClrMapping/>
  </p:clrMapOvr>
  <p:transition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Kapittelside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-1557"/>
            <a:ext cx="9145530" cy="5145884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2059233"/>
            <a:ext cx="7886700" cy="523220"/>
          </a:xfrm>
        </p:spPr>
        <p:txBody>
          <a:bodyPr anchor="b"/>
          <a:lstStyle>
            <a:lvl1pPr algn="ctr">
              <a:lnSpc>
                <a:spcPct val="100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8526076"/>
      </p:ext>
    </p:extLst>
  </p:cSld>
  <p:clrMapOvr>
    <a:masterClrMapping/>
  </p:clrMapOvr>
  <p:transition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Kapittelside L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9145528" cy="5145884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2059233"/>
            <a:ext cx="7886700" cy="523220"/>
          </a:xfrm>
        </p:spPr>
        <p:txBody>
          <a:bodyPr anchor="b"/>
          <a:lstStyle>
            <a:lvl1pPr algn="ctr">
              <a:lnSpc>
                <a:spcPct val="100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641009"/>
      </p:ext>
    </p:extLst>
  </p:cSld>
  <p:clrMapOvr>
    <a:masterClrMapping/>
  </p:clrMapOvr>
  <p:transition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spAutoFit/>
          </a:bodyPr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4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0" name="Plassholder for innhold 2"/>
          <p:cNvSpPr>
            <a:spLocks noGrp="1"/>
          </p:cNvSpPr>
          <p:nvPr>
            <p:ph idx="13"/>
          </p:nvPr>
        </p:nvSpPr>
        <p:spPr>
          <a:xfrm>
            <a:off x="467497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1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53389859"/>
      </p:ext>
    </p:extLst>
  </p:cSld>
  <p:clrMapOvr>
    <a:masterClrMapping/>
  </p:clrMapOvr>
  <p:transition>
    <p:fade/>
  </p:transition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med overskrif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80649" y="648080"/>
            <a:ext cx="3886206" cy="428454"/>
          </a:xfrm>
        </p:spPr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4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0" name="Plassholder for innhold 2"/>
          <p:cNvSpPr>
            <a:spLocks noGrp="1"/>
          </p:cNvSpPr>
          <p:nvPr>
            <p:ph idx="13"/>
          </p:nvPr>
        </p:nvSpPr>
        <p:spPr>
          <a:xfrm>
            <a:off x="467497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1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12" name="Plassholder for tekst 3"/>
          <p:cNvSpPr>
            <a:spLocks noGrp="1"/>
          </p:cNvSpPr>
          <p:nvPr>
            <p:ph type="body" sz="quarter" idx="14"/>
          </p:nvPr>
        </p:nvSpPr>
        <p:spPr>
          <a:xfrm>
            <a:off x="4674979" y="648080"/>
            <a:ext cx="3886206" cy="428454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rgbClr val="707070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4086845442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D52192-EE01-4A77-A1F8-EF0BFCADE628}" type="datetime1">
              <a:rPr lang="en-US">
                <a:solidFill>
                  <a:srgbClr val="32374B"/>
                </a:solidFill>
              </a:rPr>
              <a:pPr/>
              <a:t>9/21/2018</a:t>
            </a:fld>
            <a:endParaRPr dirty="0">
              <a:solidFill>
                <a:srgbClr val="32374B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32374B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785221-A51B-4371-B866-038075B34EEB}" type="slidenum">
              <a:rPr lang="nb-NO" smtClean="0">
                <a:solidFill>
                  <a:srgbClr val="32374B"/>
                </a:solidFill>
              </a:rPr>
              <a:pPr/>
              <a:t>‹#›</a:t>
            </a:fld>
            <a:endParaRPr lang="nb-NO" dirty="0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8529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50" y="1369642"/>
            <a:ext cx="3757601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4569619" y="1369642"/>
            <a:ext cx="3991495" cy="3194612"/>
          </a:xfrm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2774936"/>
      </p:ext>
    </p:extLst>
  </p:cSld>
  <p:clrMapOvr>
    <a:masterClrMapping/>
  </p:clrMapOvr>
  <p:transition>
    <p:fade/>
  </p:transition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tstilt bilde m/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2246289" y="4345564"/>
            <a:ext cx="4655473" cy="220827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1600">
                <a:solidFill>
                  <a:srgbClr val="707070"/>
                </a:solidFill>
              </a:defRPr>
            </a:lvl1pPr>
            <a:lvl2pPr marL="533995" indent="0">
              <a:buNone/>
              <a:defRPr/>
            </a:lvl2pPr>
            <a:lvl3pPr marL="838795" indent="0">
              <a:buNone/>
              <a:defRPr/>
            </a:lvl3pPr>
            <a:lvl4pPr marL="1138833" indent="0">
              <a:buNone/>
              <a:defRPr/>
            </a:lvl4pPr>
            <a:lvl5pPr marL="1476970" indent="0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2246289" y="968998"/>
            <a:ext cx="4655473" cy="3199007"/>
          </a:xfrm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53975702"/>
      </p:ext>
    </p:extLst>
  </p:cSld>
  <p:clrMapOvr>
    <a:masterClrMapping/>
  </p:clrMapOvr>
  <p:transition>
    <p:fade/>
  </p:transition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580649" y="1207224"/>
            <a:ext cx="7984394" cy="3363859"/>
          </a:xfrm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9" name="Tittel 1"/>
          <p:cNvSpPr>
            <a:spLocks noGrp="1"/>
          </p:cNvSpPr>
          <p:nvPr>
            <p:ph type="title"/>
          </p:nvPr>
        </p:nvSpPr>
        <p:spPr>
          <a:xfrm>
            <a:off x="580649" y="670529"/>
            <a:ext cx="7980536" cy="387097"/>
          </a:xfrm>
        </p:spPr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604942043"/>
      </p:ext>
    </p:extLst>
  </p:cSld>
  <p:clrMapOvr>
    <a:masterClrMapping/>
  </p:clrMapOvr>
  <p:transition>
    <p:fade/>
  </p:transition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4571082"/>
          </a:xfrm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43359401"/>
      </p:ext>
    </p:extLst>
  </p:cSld>
  <p:clrMapOvr>
    <a:masterClrMapping/>
  </p:clrMapOvr>
  <p:transition>
    <p:fade/>
  </p:transition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dekkende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5088"/>
          </a:xfrm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14" hasCustomPrompt="1"/>
          </p:nvPr>
        </p:nvSpPr>
        <p:spPr>
          <a:xfrm>
            <a:off x="7657200" y="4651887"/>
            <a:ext cx="1486800" cy="4932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56523563"/>
      </p:ext>
    </p:extLst>
  </p:cSld>
  <p:clrMapOvr>
    <a:masterClrMapping/>
  </p:clrMapOvr>
  <p:transition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25313661"/>
      </p:ext>
    </p:extLst>
  </p:cSld>
  <p:clrMapOvr>
    <a:masterClrMapping/>
  </p:clrMapOvr>
  <p:transition>
    <p:fade/>
  </p:transition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16692081"/>
      </p:ext>
    </p:extLst>
  </p:cSld>
  <p:clrMapOvr>
    <a:masterClrMapping/>
  </p:clrMapOvr>
  <p:transition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k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6538"/>
          </a:xfrm>
          <a:prstGeom prst="rect">
            <a:avLst/>
          </a:prstGeom>
        </p:spPr>
      </p:pic>
      <p:pic>
        <p:nvPicPr>
          <p:cNvPr id="6" name="Bild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7"/>
            <a:ext cx="9144000" cy="5145012"/>
          </a:xfrm>
          <a:prstGeom prst="rect">
            <a:avLst/>
          </a:prstGeom>
        </p:spPr>
      </p:pic>
      <p:sp>
        <p:nvSpPr>
          <p:cNvPr id="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88464966"/>
      </p:ext>
    </p:extLst>
  </p:cSld>
  <p:clrMapOvr>
    <a:masterClrMapping/>
  </p:clrMapOvr>
  <p:transition>
    <p:fade/>
  </p:transition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ks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6538"/>
          </a:xfrm>
          <a:prstGeom prst="rect">
            <a:avLst/>
          </a:prstGeom>
        </p:spPr>
      </p:pic>
      <p:pic>
        <p:nvPicPr>
          <p:cNvPr id="2" name="Bild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6538"/>
          </a:xfrm>
          <a:prstGeom prst="rect">
            <a:avLst/>
          </a:prstGeom>
        </p:spPr>
      </p:pic>
      <p:sp>
        <p:nvSpPr>
          <p:cNvPr id="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53825562"/>
      </p:ext>
    </p:extLst>
  </p:cSld>
  <p:clrMapOvr>
    <a:masterClrMapping/>
  </p:clrMapOvr>
  <p:transition>
    <p:fade/>
  </p:transition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4" y="1171"/>
            <a:ext cx="9139889" cy="5142775"/>
          </a:xfrm>
          <a:prstGeom prst="rect">
            <a:avLst/>
          </a:prstGeom>
        </p:spPr>
      </p:pic>
      <p:pic>
        <p:nvPicPr>
          <p:cNvPr id="14" name="Bilde 13" descr="Logo-hvi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0088" y="4664266"/>
            <a:ext cx="1159780" cy="222386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ktangel 9"/>
          <p:cNvSpPr/>
          <p:nvPr userDrawn="1"/>
        </p:nvSpPr>
        <p:spPr>
          <a:xfrm>
            <a:off x="467546" y="843842"/>
            <a:ext cx="8280920" cy="1512634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6" tIns="45588" rIns="91186" bIns="45588" rtlCol="0" anchor="ctr"/>
          <a:lstStyle/>
          <a:p>
            <a:pPr algn="ctr" defTabSz="911848"/>
            <a:endParaRPr lang="nb-NO" sz="1350" dirty="0">
              <a:solidFill>
                <a:srgbClr val="FFFFFF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11560" y="1187084"/>
            <a:ext cx="7772400" cy="429990"/>
          </a:xfrm>
        </p:spPr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560" y="1708222"/>
            <a:ext cx="7777162" cy="648849"/>
          </a:xfrm>
        </p:spPr>
        <p:txBody>
          <a:bodyPr>
            <a:normAutofit/>
          </a:bodyPr>
          <a:lstStyle>
            <a:lvl1pPr marL="0" indent="0">
              <a:buNone/>
              <a:defRPr sz="1800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nb-NO" dirty="0"/>
              <a:t>Klikk for å legge til sted og dato</a:t>
            </a:r>
            <a:br>
              <a:rPr lang="nb-NO" dirty="0"/>
            </a:br>
            <a:r>
              <a:rPr lang="nb-NO" dirty="0"/>
              <a:t>og fornavn, etternavn og stillingstittel</a:t>
            </a:r>
          </a:p>
        </p:txBody>
      </p:sp>
    </p:spTree>
    <p:extLst>
      <p:ext uri="{BB962C8B-B14F-4D97-AF65-F5344CB8AC3E}">
        <p14:creationId xmlns:p14="http://schemas.microsoft.com/office/powerpoint/2010/main" val="14293914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11188" y="1059910"/>
            <a:ext cx="3744788" cy="3536131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716016" y="1059910"/>
            <a:ext cx="3970784" cy="3536131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9129F-8DDC-47F6-9D73-3C0ED79F9011}" type="datetime1">
              <a:rPr lang="en-US">
                <a:solidFill>
                  <a:srgbClr val="32374B"/>
                </a:solidFill>
              </a:rPr>
              <a:pPr/>
              <a:t>9/21/2018</a:t>
            </a:fld>
            <a:endParaRPr dirty="0">
              <a:solidFill>
                <a:srgbClr val="32374B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32374B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785221-A51B-4371-B866-038075B34EEB}" type="slidenum">
              <a:rPr lang="nb-NO" smtClean="0">
                <a:solidFill>
                  <a:srgbClr val="32374B"/>
                </a:solidFill>
              </a:rPr>
              <a:pPr/>
              <a:t>‹#›</a:t>
            </a:fld>
            <a:endParaRPr lang="nb-NO" dirty="0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8749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6538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80650" y="1078038"/>
            <a:ext cx="7980536" cy="1538973"/>
          </a:xfrm>
        </p:spPr>
        <p:txBody>
          <a:bodyPr lIns="0" tIns="0" rIns="0" bIns="0" anchor="b"/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>
                <a:solidFill>
                  <a:schemeClr val="bg1"/>
                </a:solidFill>
              </a:defRPr>
            </a:lvl1pPr>
          </a:lstStyle>
          <a:p>
            <a:pPr defTabSz="685304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10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4" name="Bild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380779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lysbilde med mulighet for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tel 1"/>
          <p:cNvSpPr>
            <a:spLocks noGrp="1"/>
          </p:cNvSpPr>
          <p:nvPr>
            <p:ph type="ctrTitle"/>
          </p:nvPr>
        </p:nvSpPr>
        <p:spPr>
          <a:xfrm>
            <a:off x="-894" y="658270"/>
            <a:ext cx="9143621" cy="353432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>
                <a:solidFill>
                  <a:schemeClr val="bg1"/>
                </a:solidFill>
              </a:defRPr>
            </a:lvl1pPr>
          </a:lstStyle>
          <a:p>
            <a:pPr defTabSz="685304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10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4" name="Bild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1281133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lys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-894" y="658270"/>
            <a:ext cx="9143621" cy="353432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>
                <a:solidFill>
                  <a:schemeClr val="bg1"/>
                </a:solidFill>
              </a:defRPr>
            </a:lvl1pPr>
          </a:lstStyle>
          <a:p>
            <a:pPr defTabSz="685304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12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7305920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lysbild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tel 1"/>
          <p:cNvSpPr>
            <a:spLocks noGrp="1"/>
          </p:cNvSpPr>
          <p:nvPr>
            <p:ph type="ctrTitle"/>
          </p:nvPr>
        </p:nvSpPr>
        <p:spPr>
          <a:xfrm>
            <a:off x="-894" y="658270"/>
            <a:ext cx="9143621" cy="353432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>
                <a:solidFill>
                  <a:schemeClr val="bg1"/>
                </a:solidFill>
              </a:defRPr>
            </a:lvl1pPr>
          </a:lstStyle>
          <a:p>
            <a:pPr defTabSz="685304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906699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lysbilde #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270"/>
            <a:ext cx="9143621" cy="353432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>
                <a:solidFill>
                  <a:schemeClr val="bg1"/>
                </a:solidFill>
              </a:defRPr>
            </a:lvl1pPr>
          </a:lstStyle>
          <a:p>
            <a:pPr defTabSz="685304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6959943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lysbilde #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270"/>
            <a:ext cx="9143621" cy="353432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>
                <a:solidFill>
                  <a:schemeClr val="bg1"/>
                </a:solidFill>
              </a:defRPr>
            </a:lvl1pPr>
          </a:lstStyle>
          <a:p>
            <a:pPr defTabSz="685304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4665785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lysbilde #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270"/>
            <a:ext cx="9143621" cy="353432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>
                <a:solidFill>
                  <a:schemeClr val="bg1"/>
                </a:solidFill>
              </a:defRPr>
            </a:lvl1pPr>
          </a:lstStyle>
          <a:p>
            <a:pPr defTabSz="685304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5579805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lysbilde #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270"/>
            <a:ext cx="9143621" cy="353432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>
                <a:solidFill>
                  <a:schemeClr val="bg1"/>
                </a:solidFill>
              </a:defRPr>
            </a:lvl1pPr>
          </a:lstStyle>
          <a:p>
            <a:pPr defTabSz="685304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636313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lysbilde #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270"/>
            <a:ext cx="9143621" cy="353432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>
                <a:solidFill>
                  <a:schemeClr val="bg1"/>
                </a:solidFill>
              </a:defRPr>
            </a:lvl1pPr>
          </a:lstStyle>
          <a:p>
            <a:pPr defTabSz="685304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3" name="Bild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8024364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lysbilde #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270"/>
            <a:ext cx="9143621" cy="353432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>
                <a:solidFill>
                  <a:schemeClr val="bg1"/>
                </a:solidFill>
              </a:defRPr>
            </a:lvl1pPr>
          </a:lstStyle>
          <a:p>
            <a:pPr defTabSz="685304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79063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11188" y="1059932"/>
            <a:ext cx="3744788" cy="642019"/>
          </a:xfrm>
        </p:spPr>
        <p:txBody>
          <a:bodyPr anchor="t"/>
          <a:lstStyle>
            <a:lvl1pPr marL="0" indent="0">
              <a:buNone/>
              <a:defRPr sz="2400" b="1"/>
            </a:lvl1pPr>
            <a:lvl2pPr marL="456682" indent="0">
              <a:buNone/>
              <a:defRPr sz="2000" b="1"/>
            </a:lvl2pPr>
            <a:lvl3pPr marL="913363" indent="0">
              <a:buNone/>
              <a:defRPr sz="1800" b="1"/>
            </a:lvl3pPr>
            <a:lvl4pPr marL="1370045" indent="0">
              <a:buNone/>
              <a:defRPr sz="1600" b="1"/>
            </a:lvl4pPr>
            <a:lvl5pPr marL="1826726" indent="0">
              <a:buNone/>
              <a:defRPr sz="1600" b="1"/>
            </a:lvl5pPr>
            <a:lvl6pPr marL="2283409" indent="0">
              <a:buNone/>
              <a:defRPr sz="1600" b="1"/>
            </a:lvl6pPr>
            <a:lvl7pPr marL="2740091" indent="0">
              <a:buNone/>
              <a:defRPr sz="1600" b="1"/>
            </a:lvl7pPr>
            <a:lvl8pPr marL="3196773" indent="0">
              <a:buNone/>
              <a:defRPr sz="1600" b="1"/>
            </a:lvl8pPr>
            <a:lvl9pPr marL="3653456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1188" y="1708182"/>
            <a:ext cx="3744788" cy="288785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716053" y="1059909"/>
            <a:ext cx="4032697" cy="64827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82" indent="0">
              <a:buNone/>
              <a:defRPr sz="2000" b="1"/>
            </a:lvl2pPr>
            <a:lvl3pPr marL="913363" indent="0">
              <a:buNone/>
              <a:defRPr sz="1800" b="1"/>
            </a:lvl3pPr>
            <a:lvl4pPr marL="1370045" indent="0">
              <a:buNone/>
              <a:defRPr sz="1600" b="1"/>
            </a:lvl4pPr>
            <a:lvl5pPr marL="1826726" indent="0">
              <a:buNone/>
              <a:defRPr sz="1600" b="1"/>
            </a:lvl5pPr>
            <a:lvl6pPr marL="2283409" indent="0">
              <a:buNone/>
              <a:defRPr sz="1600" b="1"/>
            </a:lvl6pPr>
            <a:lvl7pPr marL="2740091" indent="0">
              <a:buNone/>
              <a:defRPr sz="1600" b="1"/>
            </a:lvl7pPr>
            <a:lvl8pPr marL="3196773" indent="0">
              <a:buNone/>
              <a:defRPr sz="1600" b="1"/>
            </a:lvl8pPr>
            <a:lvl9pPr marL="3653456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716016" y="1631660"/>
            <a:ext cx="3970784" cy="296438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1001A-1168-4379-A9E9-3CB9A38965DA}" type="datetime1">
              <a:rPr lang="en-US">
                <a:solidFill>
                  <a:srgbClr val="32374B"/>
                </a:solidFill>
              </a:rPr>
              <a:pPr/>
              <a:t>9/21/2018</a:t>
            </a:fld>
            <a:endParaRPr dirty="0">
              <a:solidFill>
                <a:srgbClr val="32374B"/>
              </a:solidFill>
            </a:endParaRPr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32374B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785221-A51B-4371-B866-038075B34EEB}" type="slidenum">
              <a:rPr lang="nb-NO" smtClean="0">
                <a:solidFill>
                  <a:srgbClr val="32374B"/>
                </a:solidFill>
              </a:rPr>
              <a:pPr/>
              <a:t>‹#›</a:t>
            </a:fld>
            <a:endParaRPr lang="nb-NO" dirty="0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3821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lysbilde #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270"/>
            <a:ext cx="9143621" cy="353432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>
                <a:solidFill>
                  <a:schemeClr val="bg1"/>
                </a:solidFill>
              </a:defRPr>
            </a:lvl1pPr>
          </a:lstStyle>
          <a:p>
            <a:pPr defTabSz="685304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0519313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lysbilde Byb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270"/>
            <a:ext cx="9143621" cy="353432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>
                <a:solidFill>
                  <a:schemeClr val="bg1"/>
                </a:solidFill>
              </a:defRPr>
            </a:lvl1pPr>
          </a:lstStyle>
          <a:p>
            <a:pPr defTabSz="685304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9426557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lysbilde Bå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270"/>
            <a:ext cx="9143621" cy="353432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>
                <a:solidFill>
                  <a:schemeClr val="bg1"/>
                </a:solidFill>
              </a:defRPr>
            </a:lvl1pPr>
          </a:lstStyle>
          <a:p>
            <a:pPr defTabSz="685304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556013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lysbilde Me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270"/>
            <a:ext cx="9143621" cy="353432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>
                <a:solidFill>
                  <a:schemeClr val="bg1"/>
                </a:solidFill>
              </a:defRPr>
            </a:lvl1pPr>
          </a:lstStyle>
          <a:p>
            <a:pPr defTabSz="685304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780456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lysbilde Regionb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270"/>
            <a:ext cx="9143621" cy="353432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>
                <a:solidFill>
                  <a:schemeClr val="bg1"/>
                </a:solidFill>
              </a:defRPr>
            </a:lvl1pPr>
          </a:lstStyle>
          <a:p>
            <a:pPr defTabSz="685304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971564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lysbilde Trik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270"/>
            <a:ext cx="9143621" cy="353432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>
                <a:solidFill>
                  <a:schemeClr val="bg1"/>
                </a:solidFill>
              </a:defRPr>
            </a:lvl1pPr>
          </a:lstStyle>
          <a:p>
            <a:pPr defTabSz="685304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8706038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lysbilde Forbru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270"/>
            <a:ext cx="9143621" cy="353432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>
                <a:solidFill>
                  <a:schemeClr val="bg1"/>
                </a:solidFill>
              </a:defRPr>
            </a:lvl1pPr>
          </a:lstStyle>
          <a:p>
            <a:pPr defTabSz="685304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3736183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lysbilde Forbruker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270"/>
            <a:ext cx="9143621" cy="353432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>
                <a:solidFill>
                  <a:schemeClr val="bg1"/>
                </a:solidFill>
              </a:defRPr>
            </a:lvl1pPr>
          </a:lstStyle>
          <a:p>
            <a:pPr defTabSz="685304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2412590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lysbilde Forbruker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270"/>
            <a:ext cx="9143621" cy="353432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>
                <a:solidFill>
                  <a:schemeClr val="bg1"/>
                </a:solidFill>
              </a:defRPr>
            </a:lvl1pPr>
          </a:lstStyle>
          <a:p>
            <a:pPr defTabSz="685304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911171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lysbilde Billet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270"/>
            <a:ext cx="9143621" cy="353432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>
                <a:solidFill>
                  <a:schemeClr val="bg1"/>
                </a:solidFill>
              </a:defRPr>
            </a:lvl1pPr>
          </a:lstStyle>
          <a:p>
            <a:pPr defTabSz="685304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68281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46841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ødtekst med pun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11210" y="1059909"/>
            <a:ext cx="8137525" cy="1458612"/>
          </a:xfrm>
        </p:spPr>
        <p:txBody>
          <a:bodyPr tIns="71918" anchor="t">
            <a:normAutofit/>
          </a:bodyPr>
          <a:lstStyle>
            <a:lvl1pPr marL="0" indent="0">
              <a:buNone/>
              <a:defRPr sz="2400" b="0"/>
            </a:lvl1pPr>
            <a:lvl2pPr marL="456682" indent="0">
              <a:buNone/>
              <a:defRPr sz="2000" b="1"/>
            </a:lvl2pPr>
            <a:lvl3pPr marL="913363" indent="0">
              <a:buNone/>
              <a:defRPr sz="1800" b="1"/>
            </a:lvl3pPr>
            <a:lvl4pPr marL="1370045" indent="0">
              <a:buNone/>
              <a:defRPr sz="1600" b="1"/>
            </a:lvl4pPr>
            <a:lvl5pPr marL="1826726" indent="0">
              <a:buNone/>
              <a:defRPr sz="1600" b="1"/>
            </a:lvl5pPr>
            <a:lvl6pPr marL="2283409" indent="0">
              <a:buNone/>
              <a:defRPr sz="1600" b="1"/>
            </a:lvl6pPr>
            <a:lvl7pPr marL="2740091" indent="0">
              <a:buNone/>
              <a:defRPr sz="1600" b="1"/>
            </a:lvl7pPr>
            <a:lvl8pPr marL="3196773" indent="0">
              <a:buNone/>
              <a:defRPr sz="1600" b="1"/>
            </a:lvl8pPr>
            <a:lvl9pPr marL="3653456" indent="0">
              <a:buNone/>
              <a:defRPr sz="1600" b="1"/>
            </a:lvl9pPr>
          </a:lstStyle>
          <a:p>
            <a:pPr lvl="0"/>
            <a:r>
              <a:rPr lang="nb-NO" dirty="0"/>
              <a:t>Klikk for å skrive brødtekst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1210" y="2572545"/>
            <a:ext cx="8137525" cy="202349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0F282A-FEB3-45AE-AF75-CA9FCE549D64}" type="datetime1">
              <a:rPr lang="en-US">
                <a:solidFill>
                  <a:srgbClr val="32374B"/>
                </a:solidFill>
              </a:rPr>
              <a:pPr/>
              <a:t>9/21/2018</a:t>
            </a:fld>
            <a:endParaRPr dirty="0">
              <a:solidFill>
                <a:srgbClr val="32374B"/>
              </a:solidFill>
            </a:endParaRPr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32374B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785221-A51B-4371-B866-038075B34EEB}" type="slidenum">
              <a:rPr lang="nb-NO" smtClean="0">
                <a:solidFill>
                  <a:srgbClr val="32374B"/>
                </a:solidFill>
              </a:rPr>
              <a:pPr/>
              <a:t>‹#›</a:t>
            </a:fld>
            <a:endParaRPr lang="nb-NO" dirty="0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0951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799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4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0" name="Plassholder for innhold 2"/>
          <p:cNvSpPr>
            <a:spLocks noGrp="1"/>
          </p:cNvSpPr>
          <p:nvPr>
            <p:ph idx="13"/>
          </p:nvPr>
        </p:nvSpPr>
        <p:spPr>
          <a:xfrm>
            <a:off x="467497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6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1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3" y="4829070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70391264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o innholdsdeler med overskrif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80649" y="433202"/>
            <a:ext cx="3886206" cy="861752"/>
          </a:xfrm>
        </p:spPr>
        <p:txBody>
          <a:bodyPr/>
          <a:lstStyle>
            <a:lvl1pPr>
              <a:defRPr sz="2799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4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0" name="Plassholder for innhold 2"/>
          <p:cNvSpPr>
            <a:spLocks noGrp="1"/>
          </p:cNvSpPr>
          <p:nvPr>
            <p:ph idx="13"/>
          </p:nvPr>
        </p:nvSpPr>
        <p:spPr>
          <a:xfrm>
            <a:off x="467497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6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1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3" y="4829070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sp>
        <p:nvSpPr>
          <p:cNvPr id="12" name="Plassholder for tekst 3"/>
          <p:cNvSpPr>
            <a:spLocks noGrp="1"/>
          </p:cNvSpPr>
          <p:nvPr>
            <p:ph type="body" sz="quarter" idx="14"/>
          </p:nvPr>
        </p:nvSpPr>
        <p:spPr>
          <a:xfrm>
            <a:off x="4674979" y="630002"/>
            <a:ext cx="3886206" cy="387097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799" b="1">
                <a:solidFill>
                  <a:srgbClr val="707070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539265967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, 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799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51" y="1369642"/>
            <a:ext cx="3757601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4569620" y="1369642"/>
            <a:ext cx="3991495" cy="3194612"/>
          </a:xfrm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6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3" y="4829070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89626593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dtstilt bilde m/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2246290" y="4345565"/>
            <a:ext cx="4655473" cy="220827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1600">
                <a:solidFill>
                  <a:srgbClr val="707070"/>
                </a:solidFill>
              </a:defRPr>
            </a:lvl1pPr>
            <a:lvl2pPr marL="533822" indent="0">
              <a:buNone/>
              <a:defRPr/>
            </a:lvl2pPr>
            <a:lvl3pPr marL="838523" indent="0">
              <a:buNone/>
              <a:defRPr/>
            </a:lvl3pPr>
            <a:lvl4pPr marL="1138463" indent="0">
              <a:buNone/>
              <a:defRPr/>
            </a:lvl4pPr>
            <a:lvl5pPr marL="1476490" indent="0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2246290" y="968998"/>
            <a:ext cx="4655473" cy="3199007"/>
          </a:xfrm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6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3" y="4829070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63938317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e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580649" y="1207225"/>
            <a:ext cx="7984394" cy="3363859"/>
          </a:xfrm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9" name="Tittel 1"/>
          <p:cNvSpPr>
            <a:spLocks noGrp="1"/>
          </p:cNvSpPr>
          <p:nvPr>
            <p:ph type="title"/>
          </p:nvPr>
        </p:nvSpPr>
        <p:spPr>
          <a:xfrm>
            <a:off x="580650" y="648640"/>
            <a:ext cx="7980536" cy="430876"/>
          </a:xfrm>
        </p:spPr>
        <p:txBody>
          <a:bodyPr/>
          <a:lstStyle>
            <a:lvl1pPr>
              <a:defRPr sz="2799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6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3" y="4829070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33310733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es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4571082"/>
          </a:xfrm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6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3" y="4829070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36327082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ldekkende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5088"/>
          </a:xfrm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14" hasCustomPrompt="1"/>
          </p:nvPr>
        </p:nvSpPr>
        <p:spPr>
          <a:xfrm>
            <a:off x="7657200" y="4651888"/>
            <a:ext cx="1486800" cy="4932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25845696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k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6538"/>
          </a:xfrm>
          <a:prstGeom prst="rect">
            <a:avLst/>
          </a:prstGeom>
        </p:spPr>
      </p:pic>
      <p:pic>
        <p:nvPicPr>
          <p:cNvPr id="6" name="Bild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7"/>
            <a:ext cx="9144000" cy="5145012"/>
          </a:xfrm>
          <a:prstGeom prst="rect">
            <a:avLst/>
          </a:prstGeom>
        </p:spPr>
      </p:pic>
      <p:sp>
        <p:nvSpPr>
          <p:cNvPr id="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2928591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ks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6538"/>
          </a:xfrm>
          <a:prstGeom prst="rect">
            <a:avLst/>
          </a:prstGeom>
        </p:spPr>
      </p:pic>
      <p:pic>
        <p:nvPicPr>
          <p:cNvPr id="2" name="Bild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6538"/>
          </a:xfrm>
          <a:prstGeom prst="rect">
            <a:avLst/>
          </a:prstGeom>
        </p:spPr>
      </p:pic>
      <p:sp>
        <p:nvSpPr>
          <p:cNvPr id="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9493579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6538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80650" y="1078038"/>
            <a:ext cx="7980536" cy="1538973"/>
          </a:xfrm>
        </p:spPr>
        <p:txBody>
          <a:bodyPr lIns="0" tIns="0" rIns="0" bIns="0" anchor="b"/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>
                <a:solidFill>
                  <a:schemeClr val="bg1"/>
                </a:solidFill>
              </a:defRPr>
            </a:lvl1pPr>
          </a:lstStyle>
          <a:p>
            <a:pPr defTabSz="685304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10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6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fld id="{304AD70F-8AF0-406B-B894-62E0F3D04367}" type="slidenum">
              <a:rPr lang="nb-NO" smtClean="0">
                <a:solidFill>
                  <a:prstClr val="white"/>
                </a:solidFill>
              </a:rPr>
              <a:pPr defTabSz="685304"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4" name="Bild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27788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BDAEF-5C9A-42C5-B390-141539CEE15C}" type="datetime1">
              <a:rPr lang="en-US">
                <a:solidFill>
                  <a:srgbClr val="32374B"/>
                </a:solidFill>
              </a:rPr>
              <a:pPr/>
              <a:t>9/21/2018</a:t>
            </a:fld>
            <a:endParaRPr dirty="0">
              <a:solidFill>
                <a:srgbClr val="32374B"/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32374B"/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785221-A51B-4371-B866-038075B34EEB}" type="slidenum">
              <a:rPr lang="nb-NO" smtClean="0">
                <a:solidFill>
                  <a:srgbClr val="32374B"/>
                </a:solidFill>
              </a:rPr>
              <a:pPr/>
              <a:t>‹#›</a:t>
            </a:fld>
            <a:endParaRPr lang="nb-NO" dirty="0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8264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tellysbilde med mulighet for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tel 1"/>
          <p:cNvSpPr>
            <a:spLocks noGrp="1"/>
          </p:cNvSpPr>
          <p:nvPr>
            <p:ph type="ctrTitle"/>
          </p:nvPr>
        </p:nvSpPr>
        <p:spPr>
          <a:xfrm>
            <a:off x="-894" y="658270"/>
            <a:ext cx="9143621" cy="353432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>
                <a:solidFill>
                  <a:schemeClr val="bg1"/>
                </a:solidFill>
              </a:defRPr>
            </a:lvl1pPr>
          </a:lstStyle>
          <a:p>
            <a:pPr defTabSz="685304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10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6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fld id="{304AD70F-8AF0-406B-B894-62E0F3D04367}" type="slidenum">
              <a:rPr lang="nb-NO" smtClean="0">
                <a:solidFill>
                  <a:prstClr val="white"/>
                </a:solidFill>
              </a:rPr>
              <a:pPr defTabSz="685304"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4" name="Bild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756647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tellys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-894" y="658270"/>
            <a:ext cx="9143621" cy="353432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>
                <a:solidFill>
                  <a:schemeClr val="bg1"/>
                </a:solidFill>
              </a:defRPr>
            </a:lvl1pPr>
          </a:lstStyle>
          <a:p>
            <a:pPr defTabSz="685304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12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6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fld id="{304AD70F-8AF0-406B-B894-62E0F3D04367}" type="slidenum">
              <a:rPr lang="nb-NO" smtClean="0">
                <a:solidFill>
                  <a:prstClr val="white"/>
                </a:solidFill>
              </a:rPr>
              <a:pPr defTabSz="685304"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2391808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tellysbild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tel 1"/>
          <p:cNvSpPr>
            <a:spLocks noGrp="1"/>
          </p:cNvSpPr>
          <p:nvPr>
            <p:ph type="ctrTitle"/>
          </p:nvPr>
        </p:nvSpPr>
        <p:spPr>
          <a:xfrm>
            <a:off x="-894" y="658270"/>
            <a:ext cx="9143621" cy="353432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>
                <a:solidFill>
                  <a:schemeClr val="bg1"/>
                </a:solidFill>
              </a:defRPr>
            </a:lvl1pPr>
          </a:lstStyle>
          <a:p>
            <a:pPr defTabSz="685304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6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fld id="{304AD70F-8AF0-406B-B894-62E0F3D04367}" type="slidenum">
              <a:rPr lang="nb-NO" smtClean="0">
                <a:solidFill>
                  <a:prstClr val="white"/>
                </a:solidFill>
              </a:rPr>
              <a:pPr defTabSz="685304"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3742967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tellysbilde #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270"/>
            <a:ext cx="9143621" cy="353432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>
                <a:solidFill>
                  <a:schemeClr val="bg1"/>
                </a:solidFill>
              </a:defRPr>
            </a:lvl1pPr>
          </a:lstStyle>
          <a:p>
            <a:pPr defTabSz="685304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6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fld id="{304AD70F-8AF0-406B-B894-62E0F3D04367}" type="slidenum">
              <a:rPr lang="nb-NO" smtClean="0">
                <a:solidFill>
                  <a:prstClr val="white"/>
                </a:solidFill>
              </a:rPr>
              <a:pPr defTabSz="685304"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478012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tellysbilde #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270"/>
            <a:ext cx="9143621" cy="353432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>
                <a:solidFill>
                  <a:schemeClr val="bg1"/>
                </a:solidFill>
              </a:defRPr>
            </a:lvl1pPr>
          </a:lstStyle>
          <a:p>
            <a:pPr defTabSz="685304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6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fld id="{304AD70F-8AF0-406B-B894-62E0F3D04367}" type="slidenum">
              <a:rPr lang="nb-NO" smtClean="0">
                <a:solidFill>
                  <a:prstClr val="white"/>
                </a:solidFill>
              </a:rPr>
              <a:pPr defTabSz="685304"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3236255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tellysbilde #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270"/>
            <a:ext cx="9143621" cy="353432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>
                <a:solidFill>
                  <a:schemeClr val="bg1"/>
                </a:solidFill>
              </a:defRPr>
            </a:lvl1pPr>
          </a:lstStyle>
          <a:p>
            <a:pPr defTabSz="685304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6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fld id="{304AD70F-8AF0-406B-B894-62E0F3D04367}" type="slidenum">
              <a:rPr lang="nb-NO" smtClean="0">
                <a:solidFill>
                  <a:prstClr val="white"/>
                </a:solidFill>
              </a:rPr>
              <a:pPr defTabSz="685304"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3502853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tellysbilde #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270"/>
            <a:ext cx="9143621" cy="353432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>
                <a:solidFill>
                  <a:schemeClr val="bg1"/>
                </a:solidFill>
              </a:defRPr>
            </a:lvl1pPr>
          </a:lstStyle>
          <a:p>
            <a:pPr defTabSz="685304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6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fld id="{304AD70F-8AF0-406B-B894-62E0F3D04367}" type="slidenum">
              <a:rPr lang="nb-NO" smtClean="0">
                <a:solidFill>
                  <a:prstClr val="white"/>
                </a:solidFill>
              </a:rPr>
              <a:pPr defTabSz="685304"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7491988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tellysbilde #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270"/>
            <a:ext cx="9143621" cy="353432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>
                <a:solidFill>
                  <a:schemeClr val="bg1"/>
                </a:solidFill>
              </a:defRPr>
            </a:lvl1pPr>
          </a:lstStyle>
          <a:p>
            <a:pPr defTabSz="685304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6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fld id="{304AD70F-8AF0-406B-B894-62E0F3D04367}" type="slidenum">
              <a:rPr lang="nb-NO" smtClean="0">
                <a:solidFill>
                  <a:prstClr val="white"/>
                </a:solidFill>
              </a:rPr>
              <a:pPr defTabSz="685304"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3" name="Bild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3754468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tellysbilde #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270"/>
            <a:ext cx="9143621" cy="353432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>
                <a:solidFill>
                  <a:schemeClr val="bg1"/>
                </a:solidFill>
              </a:defRPr>
            </a:lvl1pPr>
          </a:lstStyle>
          <a:p>
            <a:pPr defTabSz="685304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6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fld id="{304AD70F-8AF0-406B-B894-62E0F3D04367}" type="slidenum">
              <a:rPr lang="nb-NO" smtClean="0">
                <a:solidFill>
                  <a:prstClr val="white"/>
                </a:solidFill>
              </a:rPr>
              <a:pPr defTabSz="685304"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8405771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tellysbilde #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270"/>
            <a:ext cx="9143621" cy="353432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>
                <a:solidFill>
                  <a:schemeClr val="bg1"/>
                </a:solidFill>
              </a:defRPr>
            </a:lvl1pPr>
          </a:lstStyle>
          <a:p>
            <a:pPr defTabSz="685304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6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fld id="{304AD70F-8AF0-406B-B894-62E0F3D04367}" type="slidenum">
              <a:rPr lang="nb-NO" smtClean="0">
                <a:solidFill>
                  <a:prstClr val="white"/>
                </a:solidFill>
              </a:rPr>
              <a:pPr defTabSz="685304"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26687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D8101E-77DB-4D5D-BE45-8CBCEE45251A}" type="datetime1">
              <a:rPr lang="en-US">
                <a:solidFill>
                  <a:srgbClr val="32374B"/>
                </a:solidFill>
              </a:rPr>
              <a:pPr/>
              <a:t>9/21/2018</a:t>
            </a:fld>
            <a:endParaRPr dirty="0">
              <a:solidFill>
                <a:srgbClr val="32374B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32374B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785221-A51B-4371-B866-038075B34EEB}" type="slidenum">
              <a:rPr lang="nb-NO" smtClean="0">
                <a:solidFill>
                  <a:srgbClr val="32374B"/>
                </a:solidFill>
              </a:rPr>
              <a:pPr/>
              <a:t>‹#›</a:t>
            </a:fld>
            <a:endParaRPr lang="nb-NO" dirty="0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3841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tellysbilde Byb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270"/>
            <a:ext cx="9143621" cy="353432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>
                <a:solidFill>
                  <a:schemeClr val="bg1"/>
                </a:solidFill>
              </a:defRPr>
            </a:lvl1pPr>
          </a:lstStyle>
          <a:p>
            <a:pPr defTabSz="685304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6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fld id="{304AD70F-8AF0-406B-B894-62E0F3D04367}" type="slidenum">
              <a:rPr lang="nb-NO" smtClean="0">
                <a:solidFill>
                  <a:prstClr val="white"/>
                </a:solidFill>
              </a:rPr>
              <a:pPr defTabSz="685304"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8550767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tellysbilde Bå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270"/>
            <a:ext cx="9143621" cy="353432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>
                <a:solidFill>
                  <a:schemeClr val="bg1"/>
                </a:solidFill>
              </a:defRPr>
            </a:lvl1pPr>
          </a:lstStyle>
          <a:p>
            <a:pPr defTabSz="685304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6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fld id="{304AD70F-8AF0-406B-B894-62E0F3D04367}" type="slidenum">
              <a:rPr lang="nb-NO" smtClean="0">
                <a:solidFill>
                  <a:prstClr val="white"/>
                </a:solidFill>
              </a:rPr>
              <a:pPr defTabSz="685304"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486916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tellysbilde Me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270"/>
            <a:ext cx="9143621" cy="353432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>
                <a:solidFill>
                  <a:schemeClr val="bg1"/>
                </a:solidFill>
              </a:defRPr>
            </a:lvl1pPr>
          </a:lstStyle>
          <a:p>
            <a:pPr defTabSz="685304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6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fld id="{304AD70F-8AF0-406B-B894-62E0F3D04367}" type="slidenum">
              <a:rPr lang="nb-NO" smtClean="0">
                <a:solidFill>
                  <a:prstClr val="white"/>
                </a:solidFill>
              </a:rPr>
              <a:pPr defTabSz="685304"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942433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tellysbilde Regionbu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270"/>
            <a:ext cx="9143621" cy="353432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>
                <a:solidFill>
                  <a:schemeClr val="bg1"/>
                </a:solidFill>
              </a:defRPr>
            </a:lvl1pPr>
          </a:lstStyle>
          <a:p>
            <a:pPr defTabSz="685304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6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fld id="{304AD70F-8AF0-406B-B894-62E0F3D04367}" type="slidenum">
              <a:rPr lang="nb-NO" smtClean="0">
                <a:solidFill>
                  <a:prstClr val="white"/>
                </a:solidFill>
              </a:rPr>
              <a:pPr defTabSz="685304"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280660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tellysbilde Trik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270"/>
            <a:ext cx="9143621" cy="353432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>
                <a:solidFill>
                  <a:schemeClr val="bg1"/>
                </a:solidFill>
              </a:defRPr>
            </a:lvl1pPr>
          </a:lstStyle>
          <a:p>
            <a:pPr defTabSz="685304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6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fld id="{304AD70F-8AF0-406B-B894-62E0F3D04367}" type="slidenum">
              <a:rPr lang="nb-NO" smtClean="0">
                <a:solidFill>
                  <a:prstClr val="white"/>
                </a:solidFill>
              </a:rPr>
              <a:pPr defTabSz="685304"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625148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tellysbilde Forbruk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270"/>
            <a:ext cx="9143621" cy="353432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>
                <a:solidFill>
                  <a:schemeClr val="bg1"/>
                </a:solidFill>
              </a:defRPr>
            </a:lvl1pPr>
          </a:lstStyle>
          <a:p>
            <a:pPr defTabSz="685304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6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fld id="{304AD70F-8AF0-406B-B894-62E0F3D04367}" type="slidenum">
              <a:rPr lang="nb-NO" smtClean="0">
                <a:solidFill>
                  <a:prstClr val="white"/>
                </a:solidFill>
              </a:rPr>
              <a:pPr defTabSz="685304"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299655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tellysbilde Forbruker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270"/>
            <a:ext cx="9143621" cy="353432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>
                <a:solidFill>
                  <a:schemeClr val="bg1"/>
                </a:solidFill>
              </a:defRPr>
            </a:lvl1pPr>
          </a:lstStyle>
          <a:p>
            <a:pPr defTabSz="685304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6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fld id="{304AD70F-8AF0-406B-B894-62E0F3D04367}" type="slidenum">
              <a:rPr lang="nb-NO" smtClean="0">
                <a:solidFill>
                  <a:prstClr val="white"/>
                </a:solidFill>
              </a:rPr>
              <a:pPr defTabSz="685304"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0211507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tellysbilde Forbruker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270"/>
            <a:ext cx="9143621" cy="353432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>
                <a:solidFill>
                  <a:schemeClr val="bg1"/>
                </a:solidFill>
              </a:defRPr>
            </a:lvl1pPr>
          </a:lstStyle>
          <a:p>
            <a:pPr defTabSz="685304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6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fld id="{304AD70F-8AF0-406B-B894-62E0F3D04367}" type="slidenum">
              <a:rPr lang="nb-NO" smtClean="0">
                <a:solidFill>
                  <a:prstClr val="white"/>
                </a:solidFill>
              </a:rPr>
              <a:pPr defTabSz="685304"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5970586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tellysbilde Billet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270"/>
            <a:ext cx="9143621" cy="353432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50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737" indent="0" algn="ctr">
              <a:buNone/>
              <a:defRPr sz="1499"/>
            </a:lvl2pPr>
            <a:lvl3pPr marL="685475" indent="0" algn="ctr">
              <a:buNone/>
              <a:defRPr sz="1349"/>
            </a:lvl3pPr>
            <a:lvl4pPr marL="1028212" indent="0" algn="ctr">
              <a:buNone/>
              <a:defRPr sz="1199"/>
            </a:lvl4pPr>
            <a:lvl5pPr marL="1370948" indent="0" algn="ctr">
              <a:buNone/>
              <a:defRPr sz="1199"/>
            </a:lvl5pPr>
            <a:lvl6pPr marL="1713686" indent="0" algn="ctr">
              <a:buNone/>
              <a:defRPr sz="1199"/>
            </a:lvl6pPr>
            <a:lvl7pPr marL="2056423" indent="0" algn="ctr">
              <a:buNone/>
              <a:defRPr sz="1199"/>
            </a:lvl7pPr>
            <a:lvl8pPr marL="2399160" indent="0" algn="ctr">
              <a:buNone/>
              <a:defRPr sz="1199"/>
            </a:lvl8pPr>
            <a:lvl9pPr marL="2741897" indent="0" algn="ctr">
              <a:buNone/>
              <a:defRPr sz="1199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199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50" y="3464146"/>
            <a:ext cx="7980536" cy="18453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99">
                <a:solidFill>
                  <a:schemeClr val="bg1"/>
                </a:solidFill>
              </a:defRPr>
            </a:lvl1pPr>
          </a:lstStyle>
          <a:p>
            <a:pPr defTabSz="685304"/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6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fld id="{304AD70F-8AF0-406B-B894-62E0F3D04367}" type="slidenum">
              <a:rPr lang="nb-NO" smtClean="0">
                <a:solidFill>
                  <a:prstClr val="white"/>
                </a:solidFill>
              </a:rPr>
              <a:pPr defTabSz="685304"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4" y="4651312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7981487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799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4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0" name="Plassholder for innhold 2"/>
          <p:cNvSpPr>
            <a:spLocks noGrp="1"/>
          </p:cNvSpPr>
          <p:nvPr>
            <p:ph idx="13"/>
          </p:nvPr>
        </p:nvSpPr>
        <p:spPr>
          <a:xfrm>
            <a:off x="467497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6" y="4828609"/>
            <a:ext cx="14364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pPr defTabSz="685304"/>
            <a:fld id="{304AD70F-8AF0-406B-B894-62E0F3D04367}" type="slidenum">
              <a:rPr lang="nb-NO" smtClean="0"/>
              <a:pPr defTabSz="685304"/>
              <a:t>‹#›</a:t>
            </a:fld>
            <a:endParaRPr lang="nb-NO" dirty="0"/>
          </a:p>
        </p:txBody>
      </p:sp>
      <p:sp>
        <p:nvSpPr>
          <p:cNvPr id="11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3" y="4828611"/>
            <a:ext cx="6520573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pPr defTabSz="685304"/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418363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vadratisk bilde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714108" y="1221958"/>
            <a:ext cx="3651420" cy="2727842"/>
          </a:xfrm>
        </p:spPr>
        <p:txBody>
          <a:bodyPr/>
          <a:lstStyle>
            <a:lvl1pPr marL="0" indent="0">
              <a:buNone/>
              <a:defRPr sz="3200"/>
            </a:lvl1pPr>
            <a:lvl2pPr marL="456682" indent="0">
              <a:buNone/>
              <a:defRPr sz="2800"/>
            </a:lvl2pPr>
            <a:lvl3pPr marL="913363" indent="0">
              <a:buNone/>
              <a:defRPr sz="2400"/>
            </a:lvl3pPr>
            <a:lvl4pPr marL="1370045" indent="0">
              <a:buNone/>
              <a:defRPr sz="2000"/>
            </a:lvl4pPr>
            <a:lvl5pPr marL="1826726" indent="0">
              <a:buNone/>
              <a:defRPr sz="2000"/>
            </a:lvl5pPr>
            <a:lvl6pPr marL="2283409" indent="0">
              <a:buNone/>
              <a:defRPr sz="2000"/>
            </a:lvl6pPr>
            <a:lvl7pPr marL="2740091" indent="0">
              <a:buNone/>
              <a:defRPr sz="2000"/>
            </a:lvl7pPr>
            <a:lvl8pPr marL="3196773" indent="0">
              <a:buNone/>
              <a:defRPr sz="2000"/>
            </a:lvl8pPr>
            <a:lvl9pPr marL="3653456" indent="0">
              <a:buNone/>
              <a:defRPr sz="2000"/>
            </a:lvl9pPr>
          </a:lstStyle>
          <a:p>
            <a:r>
              <a:rPr lang="nb-NO" dirty="0"/>
              <a:t>Klikk ikonet for å legge til et bilde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3796D8-1575-4461-AA64-5B9832273320}" type="datetime1">
              <a:rPr lang="en-US">
                <a:solidFill>
                  <a:srgbClr val="32374B"/>
                </a:solidFill>
              </a:rPr>
              <a:pPr/>
              <a:t>9/21/2018</a:t>
            </a:fld>
            <a:endParaRPr dirty="0">
              <a:solidFill>
                <a:srgbClr val="32374B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32374B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785221-A51B-4371-B866-038075B34EEB}" type="slidenum">
              <a:rPr lang="nb-NO" smtClean="0">
                <a:solidFill>
                  <a:srgbClr val="32374B"/>
                </a:solidFill>
              </a:rPr>
              <a:pPr/>
              <a:t>‹#›</a:t>
            </a:fld>
            <a:endParaRPr lang="nb-NO" dirty="0">
              <a:solidFill>
                <a:srgbClr val="32374B"/>
              </a:solidFill>
            </a:endParaRPr>
          </a:p>
        </p:txBody>
      </p:sp>
      <p:sp>
        <p:nvSpPr>
          <p:cNvPr id="9" name="Plassholder for innhold 3"/>
          <p:cNvSpPr>
            <a:spLocks noGrp="1"/>
          </p:cNvSpPr>
          <p:nvPr>
            <p:ph sz="half" idx="2"/>
          </p:nvPr>
        </p:nvSpPr>
        <p:spPr>
          <a:xfrm>
            <a:off x="4716016" y="1059910"/>
            <a:ext cx="3970784" cy="2917224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Tittel 1"/>
          <p:cNvSpPr>
            <a:spLocks noGrp="1"/>
          </p:cNvSpPr>
          <p:nvPr>
            <p:ph type="title"/>
          </p:nvPr>
        </p:nvSpPr>
        <p:spPr>
          <a:xfrm>
            <a:off x="611560" y="465660"/>
            <a:ext cx="8075240" cy="539967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448272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o innholdsdeler med overskrif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80649" y="433202"/>
            <a:ext cx="3886206" cy="861752"/>
          </a:xfrm>
        </p:spPr>
        <p:txBody>
          <a:bodyPr/>
          <a:lstStyle>
            <a:lvl1pPr>
              <a:defRPr sz="2799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4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0" name="Plassholder for innhold 2"/>
          <p:cNvSpPr>
            <a:spLocks noGrp="1"/>
          </p:cNvSpPr>
          <p:nvPr>
            <p:ph idx="13"/>
          </p:nvPr>
        </p:nvSpPr>
        <p:spPr>
          <a:xfrm>
            <a:off x="467497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6" y="4828609"/>
            <a:ext cx="14364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pPr defTabSz="685304"/>
            <a:fld id="{304AD70F-8AF0-406B-B894-62E0F3D04367}" type="slidenum">
              <a:rPr lang="nb-NO" smtClean="0"/>
              <a:pPr defTabSz="685304"/>
              <a:t>‹#›</a:t>
            </a:fld>
            <a:endParaRPr lang="nb-NO" dirty="0"/>
          </a:p>
        </p:txBody>
      </p:sp>
      <p:sp>
        <p:nvSpPr>
          <p:cNvPr id="11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3" y="4828611"/>
            <a:ext cx="6520573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pPr defTabSz="685304"/>
            <a:r>
              <a:rPr lang="nb-NO"/>
              <a:t>Bunntekst</a:t>
            </a:r>
            <a:endParaRPr lang="nb-NO" dirty="0"/>
          </a:p>
        </p:txBody>
      </p:sp>
      <p:sp>
        <p:nvSpPr>
          <p:cNvPr id="12" name="Plassholder for tekst 3"/>
          <p:cNvSpPr>
            <a:spLocks noGrp="1"/>
          </p:cNvSpPr>
          <p:nvPr>
            <p:ph type="body" sz="quarter" idx="14"/>
          </p:nvPr>
        </p:nvSpPr>
        <p:spPr>
          <a:xfrm>
            <a:off x="4674979" y="630002"/>
            <a:ext cx="3886206" cy="387097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799" b="1">
                <a:solidFill>
                  <a:srgbClr val="707070"/>
                </a:solidFill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1977614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tel, 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799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51" y="1369642"/>
            <a:ext cx="3757601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4569620" y="1369642"/>
            <a:ext cx="3991495" cy="3194612"/>
          </a:xfrm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6" y="4828609"/>
            <a:ext cx="14364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pPr defTabSz="685304"/>
            <a:fld id="{304AD70F-8AF0-406B-B894-62E0F3D04367}" type="slidenum">
              <a:rPr lang="nb-NO" smtClean="0"/>
              <a:pPr defTabSz="685304"/>
              <a:t>‹#›</a:t>
            </a:fld>
            <a:endParaRPr lang="nb-NO" dirty="0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3" y="4828611"/>
            <a:ext cx="6520573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pPr defTabSz="685304"/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7408374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idtstilt bilde m/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2246290" y="4345565"/>
            <a:ext cx="4655473" cy="220827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1600">
                <a:solidFill>
                  <a:srgbClr val="707070"/>
                </a:solidFill>
              </a:defRPr>
            </a:lvl1pPr>
            <a:lvl2pPr marL="533822" indent="0">
              <a:buNone/>
              <a:defRPr/>
            </a:lvl2pPr>
            <a:lvl3pPr marL="838523" indent="0">
              <a:buNone/>
              <a:defRPr/>
            </a:lvl3pPr>
            <a:lvl4pPr marL="1138463" indent="0">
              <a:buNone/>
              <a:defRPr/>
            </a:lvl4pPr>
            <a:lvl5pPr marL="1476490" indent="0"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2246290" y="968998"/>
            <a:ext cx="4655473" cy="3199007"/>
          </a:xfrm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6" y="4828609"/>
            <a:ext cx="14364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pPr defTabSz="685304"/>
            <a:fld id="{304AD70F-8AF0-406B-B894-62E0F3D04367}" type="slidenum">
              <a:rPr lang="nb-NO" smtClean="0"/>
              <a:pPr defTabSz="685304"/>
              <a:t>‹#›</a:t>
            </a:fld>
            <a:endParaRPr lang="nb-NO" dirty="0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3" y="4828611"/>
            <a:ext cx="6520573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pPr defTabSz="685304"/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07557210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ilde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580649" y="1207225"/>
            <a:ext cx="7984394" cy="3363859"/>
          </a:xfrm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9" name="Tittel 1"/>
          <p:cNvSpPr>
            <a:spLocks noGrp="1"/>
          </p:cNvSpPr>
          <p:nvPr>
            <p:ph type="title"/>
          </p:nvPr>
        </p:nvSpPr>
        <p:spPr>
          <a:xfrm>
            <a:off x="580650" y="648640"/>
            <a:ext cx="7980536" cy="430876"/>
          </a:xfrm>
        </p:spPr>
        <p:txBody>
          <a:bodyPr/>
          <a:lstStyle>
            <a:lvl1pPr>
              <a:defRPr sz="2799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6" y="4828609"/>
            <a:ext cx="14364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pPr defTabSz="685304"/>
            <a:fld id="{304AD70F-8AF0-406B-B894-62E0F3D04367}" type="slidenum">
              <a:rPr lang="nb-NO" smtClean="0"/>
              <a:pPr defTabSz="685304"/>
              <a:t>‹#›</a:t>
            </a:fld>
            <a:endParaRPr lang="nb-NO" dirty="0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3" y="4828611"/>
            <a:ext cx="6520573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pPr defTabSz="685304"/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61842283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ildes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4571082"/>
          </a:xfrm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6" y="4828609"/>
            <a:ext cx="14364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pPr defTabSz="685304"/>
            <a:fld id="{304AD70F-8AF0-406B-B894-62E0F3D04367}" type="slidenum">
              <a:rPr lang="nb-NO" smtClean="0"/>
              <a:pPr defTabSz="685304"/>
              <a:t>‹#›</a:t>
            </a:fld>
            <a:endParaRPr lang="nb-NO" dirty="0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3" y="4828611"/>
            <a:ext cx="6520573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pPr defTabSz="685304"/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194315757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ak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6538"/>
          </a:xfrm>
          <a:prstGeom prst="rect">
            <a:avLst/>
          </a:prstGeom>
        </p:spPr>
      </p:pic>
      <p:pic>
        <p:nvPicPr>
          <p:cNvPr id="6" name="Bild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7"/>
            <a:ext cx="9144000" cy="5145012"/>
          </a:xfrm>
          <a:prstGeom prst="rect">
            <a:avLst/>
          </a:prstGeom>
        </p:spPr>
      </p:pic>
      <p:sp>
        <p:nvSpPr>
          <p:cNvPr id="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6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fld id="{304AD70F-8AF0-406B-B894-62E0F3D04367}" type="slidenum">
              <a:rPr lang="nb-NO" smtClean="0">
                <a:solidFill>
                  <a:prstClr val="white"/>
                </a:solidFill>
              </a:rPr>
              <a:pPr defTabSz="685304"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0572157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aks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6538"/>
          </a:xfrm>
          <a:prstGeom prst="rect">
            <a:avLst/>
          </a:prstGeom>
        </p:spPr>
      </p:pic>
      <p:pic>
        <p:nvPicPr>
          <p:cNvPr id="2" name="Bild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6538"/>
          </a:xfrm>
          <a:prstGeom prst="rect">
            <a:avLst/>
          </a:prstGeom>
        </p:spPr>
      </p:pic>
      <p:sp>
        <p:nvSpPr>
          <p:cNvPr id="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6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6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685304"/>
            <a:fld id="{304AD70F-8AF0-406B-B894-62E0F3D04367}" type="slidenum">
              <a:rPr lang="nb-NO" smtClean="0">
                <a:solidFill>
                  <a:prstClr val="white"/>
                </a:solidFill>
              </a:rPr>
              <a:pPr defTabSz="685304"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3131053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nimert symbol">
    <p:bg>
      <p:bgPr>
        <a:solidFill>
          <a:srgbClr val="E6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uppe 17"/>
          <p:cNvGrpSpPr/>
          <p:nvPr userDrawn="1"/>
        </p:nvGrpSpPr>
        <p:grpSpPr>
          <a:xfrm>
            <a:off x="3193050" y="1871260"/>
            <a:ext cx="2967304" cy="411955"/>
            <a:chOff x="2224198" y="2564904"/>
            <a:chExt cx="4148002" cy="648072"/>
          </a:xfrm>
          <a:solidFill>
            <a:srgbClr val="FFFFFF"/>
          </a:solidFill>
        </p:grpSpPr>
        <p:sp>
          <p:nvSpPr>
            <p:cNvPr id="15" name="Trapes 14"/>
            <p:cNvSpPr/>
            <p:nvPr userDrawn="1"/>
          </p:nvSpPr>
          <p:spPr>
            <a:xfrm>
              <a:off x="2224198" y="2564904"/>
              <a:ext cx="2121379" cy="648072"/>
            </a:xfrm>
            <a:prstGeom prst="trapezoid">
              <a:avLst>
                <a:gd name="adj" fmla="val 19625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nb-NO" sz="1800">
                <a:solidFill>
                  <a:srgbClr val="FFFFFF"/>
                </a:solidFill>
              </a:endParaRPr>
            </a:p>
          </p:txBody>
        </p:sp>
        <p:sp>
          <p:nvSpPr>
            <p:cNvPr id="17" name="Trapes 16"/>
            <p:cNvSpPr/>
            <p:nvPr userDrawn="1"/>
          </p:nvSpPr>
          <p:spPr>
            <a:xfrm rot="10800000">
              <a:off x="4211960" y="2564904"/>
              <a:ext cx="2160240" cy="648072"/>
            </a:xfrm>
            <a:prstGeom prst="trapezoid">
              <a:avLst>
                <a:gd name="adj" fmla="val 19625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nb-NO" sz="1800">
                <a:solidFill>
                  <a:srgbClr val="FFFFFF"/>
                </a:solidFill>
              </a:endParaRPr>
            </a:p>
          </p:txBody>
        </p:sp>
      </p:grpSp>
      <p:grpSp>
        <p:nvGrpSpPr>
          <p:cNvPr id="22" name="Gruppe 21"/>
          <p:cNvGrpSpPr/>
          <p:nvPr userDrawn="1"/>
        </p:nvGrpSpPr>
        <p:grpSpPr>
          <a:xfrm>
            <a:off x="2990626" y="2883696"/>
            <a:ext cx="2967304" cy="404973"/>
            <a:chOff x="2224198" y="2564904"/>
            <a:chExt cx="4148002" cy="648072"/>
          </a:xfrm>
          <a:solidFill>
            <a:srgbClr val="FFFFFF"/>
          </a:solidFill>
        </p:grpSpPr>
        <p:sp>
          <p:nvSpPr>
            <p:cNvPr id="23" name="Trapes 22"/>
            <p:cNvSpPr/>
            <p:nvPr userDrawn="1"/>
          </p:nvSpPr>
          <p:spPr>
            <a:xfrm>
              <a:off x="2224198" y="2564904"/>
              <a:ext cx="2121379" cy="648072"/>
            </a:xfrm>
            <a:prstGeom prst="trapezoid">
              <a:avLst>
                <a:gd name="adj" fmla="val 19625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nb-NO" sz="1800">
                <a:solidFill>
                  <a:srgbClr val="FFFFFF"/>
                </a:solidFill>
              </a:endParaRPr>
            </a:p>
          </p:txBody>
        </p:sp>
        <p:sp>
          <p:nvSpPr>
            <p:cNvPr id="24" name="Trapes 23"/>
            <p:cNvSpPr/>
            <p:nvPr userDrawn="1"/>
          </p:nvSpPr>
          <p:spPr>
            <a:xfrm rot="10800000">
              <a:off x="4211960" y="2564904"/>
              <a:ext cx="2160240" cy="648072"/>
            </a:xfrm>
            <a:prstGeom prst="trapezoid">
              <a:avLst>
                <a:gd name="adj" fmla="val 19625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nb-NO" sz="1800">
                <a:solidFill>
                  <a:srgbClr val="FFFFFF"/>
                </a:solidFill>
              </a:endParaRPr>
            </a:p>
          </p:txBody>
        </p:sp>
      </p:grpSp>
      <p:grpSp>
        <p:nvGrpSpPr>
          <p:cNvPr id="25" name="Gruppe 24"/>
          <p:cNvGrpSpPr/>
          <p:nvPr userDrawn="1"/>
        </p:nvGrpSpPr>
        <p:grpSpPr>
          <a:xfrm rot="6060610" flipH="1">
            <a:off x="2658567" y="2345126"/>
            <a:ext cx="2745389" cy="463770"/>
            <a:chOff x="2224198" y="2564904"/>
            <a:chExt cx="4148002" cy="648072"/>
          </a:xfrm>
          <a:solidFill>
            <a:srgbClr val="FFFFFF"/>
          </a:solidFill>
        </p:grpSpPr>
        <p:sp>
          <p:nvSpPr>
            <p:cNvPr id="26" name="Trapes 25"/>
            <p:cNvSpPr/>
            <p:nvPr userDrawn="1"/>
          </p:nvSpPr>
          <p:spPr>
            <a:xfrm>
              <a:off x="2224198" y="2564904"/>
              <a:ext cx="2121379" cy="648072"/>
            </a:xfrm>
            <a:prstGeom prst="trapezoid">
              <a:avLst>
                <a:gd name="adj" fmla="val 19625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nb-NO" sz="1800">
                <a:solidFill>
                  <a:srgbClr val="FFFFFF"/>
                </a:solidFill>
              </a:endParaRPr>
            </a:p>
          </p:txBody>
        </p:sp>
        <p:sp>
          <p:nvSpPr>
            <p:cNvPr id="27" name="Trapes 26"/>
            <p:cNvSpPr/>
            <p:nvPr userDrawn="1"/>
          </p:nvSpPr>
          <p:spPr>
            <a:xfrm rot="10800000">
              <a:off x="4211960" y="2564904"/>
              <a:ext cx="2160240" cy="648072"/>
            </a:xfrm>
            <a:prstGeom prst="trapezoid">
              <a:avLst>
                <a:gd name="adj" fmla="val 19625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nb-NO" sz="1800">
                <a:solidFill>
                  <a:srgbClr val="FFFFFF"/>
                </a:solidFill>
              </a:endParaRPr>
            </a:p>
          </p:txBody>
        </p:sp>
      </p:grpSp>
      <p:grpSp>
        <p:nvGrpSpPr>
          <p:cNvPr id="28" name="Gruppe 27"/>
          <p:cNvGrpSpPr/>
          <p:nvPr userDrawn="1"/>
        </p:nvGrpSpPr>
        <p:grpSpPr>
          <a:xfrm rot="6060610" flipH="1">
            <a:off x="3775120" y="2343781"/>
            <a:ext cx="2744612" cy="463770"/>
            <a:chOff x="2224198" y="2564904"/>
            <a:chExt cx="4148002" cy="648072"/>
          </a:xfrm>
          <a:solidFill>
            <a:srgbClr val="FFFFFF"/>
          </a:solidFill>
        </p:grpSpPr>
        <p:sp>
          <p:nvSpPr>
            <p:cNvPr id="29" name="Trapes 28"/>
            <p:cNvSpPr/>
            <p:nvPr userDrawn="1"/>
          </p:nvSpPr>
          <p:spPr>
            <a:xfrm>
              <a:off x="2224198" y="2564904"/>
              <a:ext cx="2121379" cy="648072"/>
            </a:xfrm>
            <a:prstGeom prst="trapezoid">
              <a:avLst>
                <a:gd name="adj" fmla="val 19625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nb-NO" sz="1800">
                <a:solidFill>
                  <a:srgbClr val="FFFFFF"/>
                </a:solidFill>
              </a:endParaRPr>
            </a:p>
          </p:txBody>
        </p:sp>
        <p:sp>
          <p:nvSpPr>
            <p:cNvPr id="30" name="Trapes 29"/>
            <p:cNvSpPr/>
            <p:nvPr userDrawn="1"/>
          </p:nvSpPr>
          <p:spPr>
            <a:xfrm rot="10800000">
              <a:off x="4211960" y="2564904"/>
              <a:ext cx="2160240" cy="648072"/>
            </a:xfrm>
            <a:prstGeom prst="trapezoid">
              <a:avLst>
                <a:gd name="adj" fmla="val 19625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nb-NO" sz="180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2958165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9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-7.51793E-7 L -0.04757 0.28846 " pathEditMode="relative" rAng="0" ptsTypes="AA">
                                      <p:cBhvr>
                                        <p:cTn id="18" dur="1000" spd="-100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400" y="14400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49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2222E-6 3.80523E-6 L -0.29028 -0.00232 " pathEditMode="relative" rAng="0" ptsTypes="AA">
                                      <p:cBhvr>
                                        <p:cTn id="20" dur="1000" spd="-100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4500" y="-100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49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44444E-6 -7.51793E-7 L 0.05573 -0.4564 " pathEditMode="relative" rAng="0" ptsTypes="AA">
                                      <p:cBhvr>
                                        <p:cTn id="22" dur="1000" spd="-100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00" y="-22800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49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-1.34629E-6 L 0.36996 -0.00694 " pathEditMode="relative" rAng="0" ptsTypes="AA">
                                      <p:cBhvr>
                                        <p:cTn id="24" dur="1000" spd="-100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500" y="-3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4" y="1171"/>
            <a:ext cx="9139889" cy="5142775"/>
          </a:xfrm>
          <a:prstGeom prst="rect">
            <a:avLst/>
          </a:prstGeom>
        </p:spPr>
      </p:pic>
      <p:pic>
        <p:nvPicPr>
          <p:cNvPr id="14" name="Bilde 13" descr="Logo-hvi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0089" y="4664266"/>
            <a:ext cx="1159780" cy="222386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ktangel 9"/>
          <p:cNvSpPr/>
          <p:nvPr userDrawn="1"/>
        </p:nvSpPr>
        <p:spPr>
          <a:xfrm>
            <a:off x="467547" y="843842"/>
            <a:ext cx="8280920" cy="1512634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6" tIns="45588" rIns="91186" bIns="45588" rtlCol="0" anchor="ctr"/>
          <a:lstStyle/>
          <a:p>
            <a:pPr algn="ctr" defTabSz="911825">
              <a:defRPr/>
            </a:pPr>
            <a:endParaRPr lang="nb-NO" sz="1800" dirty="0">
              <a:solidFill>
                <a:srgbClr val="FFFFFF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11560" y="1095951"/>
            <a:ext cx="7772400" cy="612256"/>
          </a:xfrm>
        </p:spPr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561" y="1708222"/>
            <a:ext cx="7777162" cy="648849"/>
          </a:xfrm>
        </p:spPr>
        <p:txBody>
          <a:bodyPr>
            <a:normAutofit/>
          </a:bodyPr>
          <a:lstStyle>
            <a:lvl1pPr marL="0" indent="0">
              <a:buNone/>
              <a:defRPr sz="1800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nb-NO" dirty="0"/>
              <a:t>Klikk for å legge til sted og dato</a:t>
            </a:r>
            <a:br>
              <a:rPr lang="nb-NO" dirty="0"/>
            </a:br>
            <a:r>
              <a:rPr lang="nb-NO" dirty="0"/>
              <a:t>og fornavn, etternavn og stillingstittel</a:t>
            </a:r>
          </a:p>
        </p:txBody>
      </p:sp>
    </p:spTree>
    <p:extLst>
      <p:ext uri="{BB962C8B-B14F-4D97-AF65-F5344CB8AC3E}">
        <p14:creationId xmlns:p14="http://schemas.microsoft.com/office/powerpoint/2010/main" val="4098391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24138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norama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714109" y="1221958"/>
            <a:ext cx="8034610" cy="2727842"/>
          </a:xfrm>
        </p:spPr>
        <p:txBody>
          <a:bodyPr/>
          <a:lstStyle>
            <a:lvl1pPr marL="0" indent="0">
              <a:buNone/>
              <a:defRPr sz="3200"/>
            </a:lvl1pPr>
            <a:lvl2pPr marL="456682" indent="0">
              <a:buNone/>
              <a:defRPr sz="2800"/>
            </a:lvl2pPr>
            <a:lvl3pPr marL="913363" indent="0">
              <a:buNone/>
              <a:defRPr sz="2400"/>
            </a:lvl3pPr>
            <a:lvl4pPr marL="1370045" indent="0">
              <a:buNone/>
              <a:defRPr sz="2000"/>
            </a:lvl4pPr>
            <a:lvl5pPr marL="1826726" indent="0">
              <a:buNone/>
              <a:defRPr sz="2000"/>
            </a:lvl5pPr>
            <a:lvl6pPr marL="2283409" indent="0">
              <a:buNone/>
              <a:defRPr sz="2000"/>
            </a:lvl6pPr>
            <a:lvl7pPr marL="2740091" indent="0">
              <a:buNone/>
              <a:defRPr sz="2000"/>
            </a:lvl7pPr>
            <a:lvl8pPr marL="3196773" indent="0">
              <a:buNone/>
              <a:defRPr sz="2000"/>
            </a:lvl8pPr>
            <a:lvl9pPr marL="3653456" indent="0">
              <a:buNone/>
              <a:defRPr sz="2000"/>
            </a:lvl9pPr>
          </a:lstStyle>
          <a:p>
            <a:r>
              <a:rPr lang="nb-NO" dirty="0"/>
              <a:t>Klikk ikonet for å legge til et bilde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E30DE7-ED98-4A20-99FF-288CEE9FD113}" type="datetime1">
              <a:rPr lang="en-US">
                <a:solidFill>
                  <a:srgbClr val="32374B"/>
                </a:solidFill>
              </a:rPr>
              <a:pPr/>
              <a:t>9/21/2018</a:t>
            </a:fld>
            <a:endParaRPr dirty="0">
              <a:solidFill>
                <a:srgbClr val="32374B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32374B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785221-A51B-4371-B866-038075B34EEB}" type="slidenum">
              <a:rPr lang="nb-NO" smtClean="0">
                <a:solidFill>
                  <a:srgbClr val="32374B"/>
                </a:solidFill>
              </a:rPr>
              <a:pPr/>
              <a:t>‹#›</a:t>
            </a:fld>
            <a:endParaRPr lang="nb-NO" dirty="0">
              <a:solidFill>
                <a:srgbClr val="32374B"/>
              </a:solidFill>
            </a:endParaRPr>
          </a:p>
        </p:txBody>
      </p:sp>
      <p:sp>
        <p:nvSpPr>
          <p:cNvPr id="10" name="Tittel 1"/>
          <p:cNvSpPr>
            <a:spLocks noGrp="1"/>
          </p:cNvSpPr>
          <p:nvPr>
            <p:ph type="title"/>
          </p:nvPr>
        </p:nvSpPr>
        <p:spPr>
          <a:xfrm>
            <a:off x="611560" y="465660"/>
            <a:ext cx="8075240" cy="539967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802645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11188" y="1059910"/>
            <a:ext cx="3744788" cy="3536132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716016" y="1059910"/>
            <a:ext cx="3970784" cy="3536132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427307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11188" y="1059950"/>
            <a:ext cx="3744788" cy="642019"/>
          </a:xfrm>
        </p:spPr>
        <p:txBody>
          <a:bodyPr anchor="t"/>
          <a:lstStyle>
            <a:lvl1pPr marL="0" indent="0">
              <a:buNone/>
              <a:defRPr sz="2400" b="1"/>
            </a:lvl1pPr>
            <a:lvl2pPr marL="455909" indent="0">
              <a:buNone/>
              <a:defRPr sz="2000" b="1"/>
            </a:lvl2pPr>
            <a:lvl3pPr marL="911825" indent="0">
              <a:buNone/>
              <a:defRPr sz="1800" b="1"/>
            </a:lvl3pPr>
            <a:lvl4pPr marL="1367739" indent="0">
              <a:buNone/>
              <a:defRPr sz="1600" b="1"/>
            </a:lvl4pPr>
            <a:lvl5pPr marL="1823654" indent="0">
              <a:buNone/>
              <a:defRPr sz="1600" b="1"/>
            </a:lvl5pPr>
            <a:lvl6pPr marL="2279564" indent="0">
              <a:buNone/>
              <a:defRPr sz="1600" b="1"/>
            </a:lvl6pPr>
            <a:lvl7pPr marL="2735480" indent="0">
              <a:buNone/>
              <a:defRPr sz="1600" b="1"/>
            </a:lvl7pPr>
            <a:lvl8pPr marL="3191390" indent="0">
              <a:buNone/>
              <a:defRPr sz="1600" b="1"/>
            </a:lvl8pPr>
            <a:lvl9pPr marL="3647304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1188" y="1708182"/>
            <a:ext cx="3744788" cy="288786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716058" y="1059909"/>
            <a:ext cx="4032697" cy="64827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909" indent="0">
              <a:buNone/>
              <a:defRPr sz="2000" b="1"/>
            </a:lvl2pPr>
            <a:lvl3pPr marL="911825" indent="0">
              <a:buNone/>
              <a:defRPr sz="1800" b="1"/>
            </a:lvl3pPr>
            <a:lvl4pPr marL="1367739" indent="0">
              <a:buNone/>
              <a:defRPr sz="1600" b="1"/>
            </a:lvl4pPr>
            <a:lvl5pPr marL="1823654" indent="0">
              <a:buNone/>
              <a:defRPr sz="1600" b="1"/>
            </a:lvl5pPr>
            <a:lvl6pPr marL="2279564" indent="0">
              <a:buNone/>
              <a:defRPr sz="1600" b="1"/>
            </a:lvl6pPr>
            <a:lvl7pPr marL="2735480" indent="0">
              <a:buNone/>
              <a:defRPr sz="1600" b="1"/>
            </a:lvl7pPr>
            <a:lvl8pPr marL="3191390" indent="0">
              <a:buNone/>
              <a:defRPr sz="1600" b="1"/>
            </a:lvl8pPr>
            <a:lvl9pPr marL="3647304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716016" y="1631670"/>
            <a:ext cx="3970784" cy="296438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>
          <a:xfrm>
            <a:off x="1115616" y="4680115"/>
            <a:ext cx="1008112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27">
              <a:defRPr/>
            </a:pPr>
            <a:endParaRPr lang="en-US" dirty="0">
              <a:solidFill>
                <a:srgbClr val="32374B"/>
              </a:solidFill>
            </a:endParaRPr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>
          <a:xfrm>
            <a:off x="2195736" y="4680115"/>
            <a:ext cx="5184576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27">
              <a:defRPr/>
            </a:pPr>
            <a:r>
              <a:rPr lang="en-US">
                <a:solidFill>
                  <a:srgbClr val="32374B"/>
                </a:solidFill>
              </a:rPr>
              <a:t>Bunntekst</a:t>
            </a: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>
          <a:xfrm>
            <a:off x="611188" y="4679428"/>
            <a:ext cx="405408" cy="216091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27">
              <a:defRPr/>
            </a:pPr>
            <a:fld id="{7B785221-A51B-4371-B866-038075B34EEB}" type="slidenum">
              <a:rPr lang="nb-NO" smtClean="0">
                <a:solidFill>
                  <a:srgbClr val="32374B"/>
                </a:solidFill>
              </a:rPr>
              <a:pPr defTabSz="911927">
                <a:defRPr/>
              </a:pPr>
              <a:t>‹#›</a:t>
            </a:fld>
            <a:endParaRPr lang="nb-NO" dirty="0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897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ødtekst med pun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11227" y="1059909"/>
            <a:ext cx="8137525" cy="1458612"/>
          </a:xfrm>
        </p:spPr>
        <p:txBody>
          <a:bodyPr tIns="71798" anchor="t">
            <a:normAutofit/>
          </a:bodyPr>
          <a:lstStyle>
            <a:lvl1pPr marL="0" indent="0">
              <a:buNone/>
              <a:defRPr sz="2400" b="0"/>
            </a:lvl1pPr>
            <a:lvl2pPr marL="455909" indent="0">
              <a:buNone/>
              <a:defRPr sz="2000" b="1"/>
            </a:lvl2pPr>
            <a:lvl3pPr marL="911825" indent="0">
              <a:buNone/>
              <a:defRPr sz="1800" b="1"/>
            </a:lvl3pPr>
            <a:lvl4pPr marL="1367739" indent="0">
              <a:buNone/>
              <a:defRPr sz="1600" b="1"/>
            </a:lvl4pPr>
            <a:lvl5pPr marL="1823654" indent="0">
              <a:buNone/>
              <a:defRPr sz="1600" b="1"/>
            </a:lvl5pPr>
            <a:lvl6pPr marL="2279564" indent="0">
              <a:buNone/>
              <a:defRPr sz="1600" b="1"/>
            </a:lvl6pPr>
            <a:lvl7pPr marL="2735480" indent="0">
              <a:buNone/>
              <a:defRPr sz="1600" b="1"/>
            </a:lvl7pPr>
            <a:lvl8pPr marL="3191390" indent="0">
              <a:buNone/>
              <a:defRPr sz="1600" b="1"/>
            </a:lvl8pPr>
            <a:lvl9pPr marL="3647304" indent="0">
              <a:buNone/>
              <a:defRPr sz="1600" b="1"/>
            </a:lvl9pPr>
          </a:lstStyle>
          <a:p>
            <a:pPr lvl="0"/>
            <a:r>
              <a:rPr lang="nb-NO" dirty="0"/>
              <a:t>Klikk for å skrive brødtekst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1227" y="2572557"/>
            <a:ext cx="8137525" cy="202349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>
          <a:xfrm>
            <a:off x="1115616" y="4680115"/>
            <a:ext cx="1008112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27">
              <a:defRPr/>
            </a:pPr>
            <a:endParaRPr lang="en-US" dirty="0">
              <a:solidFill>
                <a:srgbClr val="32374B"/>
              </a:solidFill>
            </a:endParaRPr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>
          <a:xfrm>
            <a:off x="2195736" y="4680115"/>
            <a:ext cx="5184576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27">
              <a:defRPr/>
            </a:pPr>
            <a:r>
              <a:rPr lang="en-US">
                <a:solidFill>
                  <a:srgbClr val="32374B"/>
                </a:solidFill>
              </a:rPr>
              <a:t>Bunntekst</a:t>
            </a: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>
          <a:xfrm>
            <a:off x="611188" y="4679428"/>
            <a:ext cx="405408" cy="216091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27">
              <a:defRPr/>
            </a:pPr>
            <a:fld id="{7B785221-A51B-4371-B866-038075B34EEB}" type="slidenum">
              <a:rPr lang="nb-NO" smtClean="0">
                <a:solidFill>
                  <a:srgbClr val="32374B"/>
                </a:solidFill>
              </a:rPr>
              <a:pPr defTabSz="911927">
                <a:defRPr/>
              </a:pPr>
              <a:t>‹#›</a:t>
            </a:fld>
            <a:endParaRPr lang="nb-NO" dirty="0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4459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>
          <a:xfrm>
            <a:off x="1115616" y="4680115"/>
            <a:ext cx="1008112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27">
              <a:defRPr/>
            </a:pPr>
            <a:endParaRPr lang="en-US" dirty="0">
              <a:solidFill>
                <a:srgbClr val="32374B"/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xfrm>
            <a:off x="2195736" y="4680115"/>
            <a:ext cx="5184576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27">
              <a:defRPr/>
            </a:pPr>
            <a:r>
              <a:rPr lang="en-US">
                <a:solidFill>
                  <a:srgbClr val="32374B"/>
                </a:solidFill>
              </a:rPr>
              <a:t>Bunntekst</a:t>
            </a: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>
          <a:xfrm>
            <a:off x="611188" y="4679428"/>
            <a:ext cx="405408" cy="216091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27">
              <a:defRPr/>
            </a:pPr>
            <a:fld id="{7B785221-A51B-4371-B866-038075B34EEB}" type="slidenum">
              <a:rPr lang="nb-NO" smtClean="0">
                <a:solidFill>
                  <a:srgbClr val="32374B"/>
                </a:solidFill>
              </a:rPr>
              <a:pPr defTabSz="911927">
                <a:defRPr/>
              </a:pPr>
              <a:t>‹#›</a:t>
            </a:fld>
            <a:endParaRPr lang="nb-NO" dirty="0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388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1115616" y="4680115"/>
            <a:ext cx="1008112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27">
              <a:defRPr/>
            </a:pPr>
            <a:endParaRPr lang="en-US" dirty="0">
              <a:solidFill>
                <a:srgbClr val="32374B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>
          <a:xfrm>
            <a:off x="2195736" y="4680115"/>
            <a:ext cx="5184576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27">
              <a:defRPr/>
            </a:pPr>
            <a:r>
              <a:rPr lang="en-US">
                <a:solidFill>
                  <a:srgbClr val="32374B"/>
                </a:solidFill>
              </a:rPr>
              <a:t>Bunntekst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>
          <a:xfrm>
            <a:off x="611188" y="4679428"/>
            <a:ext cx="405408" cy="216091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27">
              <a:defRPr/>
            </a:pPr>
            <a:fld id="{7B785221-A51B-4371-B866-038075B34EEB}" type="slidenum">
              <a:rPr lang="nb-NO" smtClean="0">
                <a:solidFill>
                  <a:srgbClr val="32374B"/>
                </a:solidFill>
              </a:rPr>
              <a:pPr defTabSz="911927">
                <a:defRPr/>
              </a:pPr>
              <a:t>‹#›</a:t>
            </a:fld>
            <a:endParaRPr lang="nb-NO" dirty="0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9931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vadratisk bilde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714108" y="1221958"/>
            <a:ext cx="3651420" cy="2727842"/>
          </a:xfrm>
        </p:spPr>
        <p:txBody>
          <a:bodyPr/>
          <a:lstStyle>
            <a:lvl1pPr marL="0" indent="0">
              <a:buNone/>
              <a:defRPr sz="3200"/>
            </a:lvl1pPr>
            <a:lvl2pPr marL="455909" indent="0">
              <a:buNone/>
              <a:defRPr sz="2800"/>
            </a:lvl2pPr>
            <a:lvl3pPr marL="911825" indent="0">
              <a:buNone/>
              <a:defRPr sz="2400"/>
            </a:lvl3pPr>
            <a:lvl4pPr marL="1367739" indent="0">
              <a:buNone/>
              <a:defRPr sz="2000"/>
            </a:lvl4pPr>
            <a:lvl5pPr marL="1823654" indent="0">
              <a:buNone/>
              <a:defRPr sz="2000"/>
            </a:lvl5pPr>
            <a:lvl6pPr marL="2279564" indent="0">
              <a:buNone/>
              <a:defRPr sz="2000"/>
            </a:lvl6pPr>
            <a:lvl7pPr marL="2735480" indent="0">
              <a:buNone/>
              <a:defRPr sz="2000"/>
            </a:lvl7pPr>
            <a:lvl8pPr marL="3191390" indent="0">
              <a:buNone/>
              <a:defRPr sz="2000"/>
            </a:lvl8pPr>
            <a:lvl9pPr marL="3647304" indent="0">
              <a:buNone/>
              <a:defRPr sz="2000"/>
            </a:lvl9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1115616" y="4680115"/>
            <a:ext cx="1008112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27">
              <a:defRPr/>
            </a:pPr>
            <a:endParaRPr lang="en-US" dirty="0">
              <a:solidFill>
                <a:srgbClr val="32374B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2195736" y="4680115"/>
            <a:ext cx="5184576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27">
              <a:defRPr/>
            </a:pPr>
            <a:r>
              <a:rPr lang="en-US">
                <a:solidFill>
                  <a:srgbClr val="32374B"/>
                </a:solidFill>
              </a:rPr>
              <a:t>Bunntekst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611188" y="4679428"/>
            <a:ext cx="405408" cy="216091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27">
              <a:defRPr/>
            </a:pPr>
            <a:fld id="{7B785221-A51B-4371-B866-038075B34EEB}" type="slidenum">
              <a:rPr lang="nb-NO" smtClean="0">
                <a:solidFill>
                  <a:srgbClr val="32374B"/>
                </a:solidFill>
              </a:rPr>
              <a:pPr defTabSz="911927">
                <a:defRPr/>
              </a:pPr>
              <a:t>‹#›</a:t>
            </a:fld>
            <a:endParaRPr lang="nb-NO" dirty="0">
              <a:solidFill>
                <a:srgbClr val="32374B"/>
              </a:solidFill>
            </a:endParaRPr>
          </a:p>
        </p:txBody>
      </p:sp>
      <p:sp>
        <p:nvSpPr>
          <p:cNvPr id="9" name="Plassholder for innhold 3"/>
          <p:cNvSpPr>
            <a:spLocks noGrp="1"/>
          </p:cNvSpPr>
          <p:nvPr>
            <p:ph sz="half" idx="2"/>
          </p:nvPr>
        </p:nvSpPr>
        <p:spPr>
          <a:xfrm>
            <a:off x="4716016" y="1059910"/>
            <a:ext cx="3970784" cy="2917224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Tittel 1"/>
          <p:cNvSpPr>
            <a:spLocks noGrp="1"/>
          </p:cNvSpPr>
          <p:nvPr>
            <p:ph type="title"/>
          </p:nvPr>
        </p:nvSpPr>
        <p:spPr>
          <a:xfrm>
            <a:off x="611560" y="465672"/>
            <a:ext cx="8075240" cy="539966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890107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norama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714110" y="1221958"/>
            <a:ext cx="8034610" cy="2727842"/>
          </a:xfrm>
        </p:spPr>
        <p:txBody>
          <a:bodyPr/>
          <a:lstStyle>
            <a:lvl1pPr marL="0" indent="0">
              <a:buNone/>
              <a:defRPr sz="3200"/>
            </a:lvl1pPr>
            <a:lvl2pPr marL="455909" indent="0">
              <a:buNone/>
              <a:defRPr sz="2800"/>
            </a:lvl2pPr>
            <a:lvl3pPr marL="911825" indent="0">
              <a:buNone/>
              <a:defRPr sz="2400"/>
            </a:lvl3pPr>
            <a:lvl4pPr marL="1367739" indent="0">
              <a:buNone/>
              <a:defRPr sz="2000"/>
            </a:lvl4pPr>
            <a:lvl5pPr marL="1823654" indent="0">
              <a:buNone/>
              <a:defRPr sz="2000"/>
            </a:lvl5pPr>
            <a:lvl6pPr marL="2279564" indent="0">
              <a:buNone/>
              <a:defRPr sz="2000"/>
            </a:lvl6pPr>
            <a:lvl7pPr marL="2735480" indent="0">
              <a:buNone/>
              <a:defRPr sz="2000"/>
            </a:lvl7pPr>
            <a:lvl8pPr marL="3191390" indent="0">
              <a:buNone/>
              <a:defRPr sz="2000"/>
            </a:lvl8pPr>
            <a:lvl9pPr marL="3647304" indent="0">
              <a:buNone/>
              <a:defRPr sz="2000"/>
            </a:lvl9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1115616" y="4680115"/>
            <a:ext cx="1008112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27">
              <a:defRPr/>
            </a:pPr>
            <a:endParaRPr lang="en-US" dirty="0">
              <a:solidFill>
                <a:srgbClr val="32374B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2195736" y="4680115"/>
            <a:ext cx="5184576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27">
              <a:defRPr/>
            </a:pPr>
            <a:r>
              <a:rPr lang="en-US">
                <a:solidFill>
                  <a:srgbClr val="32374B"/>
                </a:solidFill>
              </a:rPr>
              <a:t>Bunntekst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611188" y="4679428"/>
            <a:ext cx="405408" cy="216091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27">
              <a:defRPr/>
            </a:pPr>
            <a:fld id="{7B785221-A51B-4371-B866-038075B34EEB}" type="slidenum">
              <a:rPr lang="nb-NO" smtClean="0">
                <a:solidFill>
                  <a:srgbClr val="32374B"/>
                </a:solidFill>
              </a:rPr>
              <a:pPr defTabSz="911927">
                <a:defRPr/>
              </a:pPr>
              <a:t>‹#›</a:t>
            </a:fld>
            <a:endParaRPr lang="nb-NO" dirty="0">
              <a:solidFill>
                <a:srgbClr val="32374B"/>
              </a:solidFill>
            </a:endParaRPr>
          </a:p>
        </p:txBody>
      </p:sp>
      <p:sp>
        <p:nvSpPr>
          <p:cNvPr id="10" name="Tittel 1"/>
          <p:cNvSpPr>
            <a:spLocks noGrp="1"/>
          </p:cNvSpPr>
          <p:nvPr>
            <p:ph type="title"/>
          </p:nvPr>
        </p:nvSpPr>
        <p:spPr>
          <a:xfrm>
            <a:off x="611560" y="465672"/>
            <a:ext cx="8075240" cy="539966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546711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dekkende bilde med sor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1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5088"/>
          </a:xfrm>
        </p:spPr>
        <p:txBody>
          <a:bodyPr>
            <a:normAutofit/>
          </a:bodyPr>
          <a:lstStyle>
            <a:lvl1pPr>
              <a:defRPr sz="2000" baseline="0">
                <a:solidFill>
                  <a:schemeClr val="tx1"/>
                </a:solidFill>
              </a:defRPr>
            </a:lvl1pPr>
          </a:lstStyle>
          <a:p>
            <a:r>
              <a:rPr lang="nb-NO" dirty="0">
                <a:solidFill>
                  <a:schemeClr val="bg1"/>
                </a:solidFill>
              </a:rPr>
              <a:t>Trykk på knappen midt i lysbildet for å sette inn heldekkende bilde</a:t>
            </a:r>
            <a:br>
              <a:rPr lang="nb-NO" dirty="0">
                <a:solidFill>
                  <a:schemeClr val="bg1"/>
                </a:solidFill>
              </a:rPr>
            </a:br>
            <a:endParaRPr lang="nb-NO" dirty="0"/>
          </a:p>
        </p:txBody>
      </p:sp>
      <p:sp>
        <p:nvSpPr>
          <p:cNvPr id="4" name="Plassholder for tekst 20"/>
          <p:cNvSpPr>
            <a:spLocks noGrp="1"/>
          </p:cNvSpPr>
          <p:nvPr>
            <p:ph type="body" sz="quarter" idx="12" hasCustomPrompt="1"/>
          </p:nvPr>
        </p:nvSpPr>
        <p:spPr>
          <a:xfrm>
            <a:off x="7624843" y="4656258"/>
            <a:ext cx="1171709" cy="22802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nb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92138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41" y="1081"/>
          <a:ext cx="144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41" y="1081"/>
                        <a:ext cx="1440" cy="1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auto">
          <a:xfrm>
            <a:off x="11209" y="776068"/>
            <a:ext cx="9144000" cy="3724224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1395" tIns="40700" rIns="81395" bIns="40700" numCol="1" rtlCol="0" anchor="ctr" anchorCtr="0" compatLnSpc="1">
            <a:prstTxWarp prst="textNoShape">
              <a:avLst/>
            </a:prstTxWarp>
          </a:bodyPr>
          <a:lstStyle/>
          <a:p>
            <a:pPr defTabSz="362877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endParaRPr lang="en-US" sz="1500">
              <a:solidFill>
                <a:srgbClr val="FFFFFF"/>
              </a:solidFill>
              <a:ea typeface="SimSun" pitchFamily="2" charset="-122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5778" y="171134"/>
            <a:ext cx="8621909" cy="503859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l">
              <a:lnSpc>
                <a:spcPct val="100000"/>
              </a:lnSpc>
              <a:defRPr sz="1900" b="1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5778" y="1151301"/>
            <a:ext cx="8621909" cy="3185545"/>
          </a:xfrm>
          <a:prstGeom prst="rect">
            <a:avLst/>
          </a:prstGeom>
        </p:spPr>
        <p:txBody>
          <a:bodyPr/>
          <a:lstStyle>
            <a:lvl1pPr marL="150023" indent="-150023" algn="l">
              <a:buFont typeface="Wingdings" pitchFamily="2" charset="2"/>
              <a:buChar char="§"/>
              <a:defRPr sz="1000">
                <a:solidFill>
                  <a:schemeClr val="tx1"/>
                </a:solidFill>
              </a:defRPr>
            </a:lvl1pPr>
            <a:lvl2pPr marL="509051" indent="-139765" algn="l">
              <a:buFont typeface="Wingdings" pitchFamily="2" charset="2"/>
              <a:buChar char="§"/>
              <a:defRPr sz="1000">
                <a:solidFill>
                  <a:schemeClr val="tx1"/>
                </a:solidFill>
              </a:defRPr>
            </a:lvl2pPr>
            <a:lvl3pPr marL="938599" indent="-200030" algn="l">
              <a:buFont typeface="Wingdings" pitchFamily="2" charset="2"/>
              <a:buChar char="§"/>
              <a:defRPr sz="1000">
                <a:solidFill>
                  <a:schemeClr val="tx1"/>
                </a:solidFill>
              </a:defRPr>
            </a:lvl3pPr>
            <a:lvl4pPr algn="l">
              <a:buFont typeface="Wingdings" pitchFamily="2" charset="2"/>
              <a:buChar char="§"/>
              <a:defRPr sz="1000">
                <a:solidFill>
                  <a:schemeClr val="tx1"/>
                </a:solidFill>
              </a:defRPr>
            </a:lvl4pPr>
            <a:lvl5pPr algn="l">
              <a:buFont typeface="Wingdings" pitchFamily="2" charset="2"/>
              <a:buChar char="§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7250061" y="4827478"/>
            <a:ext cx="1044383" cy="273354"/>
          </a:xfrm>
          <a:prstGeom prst="rect">
            <a:avLst/>
          </a:prstGeom>
        </p:spPr>
        <p:txBody>
          <a:bodyPr lIns="91197" tIns="45594" rIns="91197" bIns="45594"/>
          <a:lstStyle>
            <a:lvl1pPr algn="r">
              <a:defRPr sz="1000" b="1" smtClean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defTabSz="911927">
              <a:defRPr/>
            </a:pPr>
            <a:endParaRPr lang="en-US" dirty="0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828838" y="4827478"/>
            <a:ext cx="5421217" cy="273354"/>
          </a:xfrm>
          <a:prstGeom prst="rect">
            <a:avLst/>
          </a:prstGeom>
        </p:spPr>
        <p:txBody>
          <a:bodyPr lIns="91197" tIns="45594" rIns="91197" bIns="45594"/>
          <a:lstStyle>
            <a:lvl1pPr marL="150023" indent="-150023" algn="l">
              <a:defRPr sz="600" b="0" dirty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509051" indent="-509051" defTabSz="911927">
              <a:defRPr/>
            </a:pPr>
            <a:r>
              <a:rPr lang="en-US">
                <a:solidFill>
                  <a:prstClr val="black">
                    <a:lumMod val="85000"/>
                    <a:lumOff val="15000"/>
                  </a:prstClr>
                </a:solidFill>
              </a:rPr>
              <a:t>Bunntekst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25441" y="4827478"/>
            <a:ext cx="588960" cy="273354"/>
          </a:xfrm>
          <a:prstGeom prst="rect">
            <a:avLst/>
          </a:prstGeom>
        </p:spPr>
        <p:txBody>
          <a:bodyPr lIns="91197" tIns="45594" rIns="91197" bIns="45594"/>
          <a:lstStyle>
            <a:lvl1pPr algn="r">
              <a:defRPr sz="1000" b="1" smtClean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defTabSz="911927">
              <a:defRPr/>
            </a:pPr>
            <a:fld id="{6129956D-6D5E-40ED-B4C2-BE386F84BC3B}" type="slidenum">
              <a:rPr lang="en-US" smtClean="0">
                <a:solidFill>
                  <a:prstClr val="black">
                    <a:lumMod val="85000"/>
                    <a:lumOff val="15000"/>
                  </a:prstClr>
                </a:solidFill>
              </a:rPr>
              <a:pPr defTabSz="911927">
                <a:defRPr/>
              </a:pPr>
              <a:t>‹#›</a:t>
            </a:fld>
            <a:endParaRPr lang="en-US" dirty="0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195871" y="857572"/>
            <a:ext cx="8621797" cy="195712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13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add subject title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 bwMode="auto">
          <a:xfrm>
            <a:off x="11209" y="767643"/>
            <a:ext cx="9144000" cy="0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64518427"/>
      </p:ext>
    </p:extLst>
  </p:cSld>
  <p:clrMapOvr>
    <a:masterClrMapping/>
  </p:clrMapOvr>
  <p:transition spd="med">
    <p:fad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57201" y="1036179"/>
            <a:ext cx="8228012" cy="3619428"/>
          </a:xfrm>
          <a:noFill/>
          <a:ln w="3175">
            <a:noFill/>
          </a:ln>
        </p:spPr>
        <p:txBody>
          <a:bodyPr>
            <a:noAutofit/>
          </a:bodyPr>
          <a:lstStyle>
            <a:lvl1pPr>
              <a:defRPr sz="1400">
                <a:latin typeface="Calibri" pitchFamily="34" charset="0"/>
                <a:cs typeface="Calibri" pitchFamily="34" charset="0"/>
              </a:defRPr>
            </a:lvl1pPr>
            <a:lvl2pPr marL="356228" indent="-178901">
              <a:defRPr sz="1400">
                <a:latin typeface="Calibri" pitchFamily="34" charset="0"/>
                <a:cs typeface="Calibri" pitchFamily="34" charset="0"/>
              </a:defRPr>
            </a:lvl2pPr>
            <a:lvl3pPr marL="533543" indent="-177320">
              <a:defRPr sz="1400">
                <a:latin typeface="Calibri" pitchFamily="34" charset="0"/>
                <a:cs typeface="Calibri" pitchFamily="34" charset="0"/>
              </a:defRPr>
            </a:lvl3pPr>
            <a:lvl4pPr marL="712443" indent="-178901">
              <a:defRPr sz="1400">
                <a:latin typeface="Calibri" pitchFamily="34" charset="0"/>
                <a:cs typeface="Calibri" pitchFamily="34" charset="0"/>
              </a:defRPr>
            </a:lvl4pPr>
            <a:lvl5pPr>
              <a:defRPr sz="1400">
                <a:latin typeface="Calibri" pitchFamily="34" charset="0"/>
                <a:cs typeface="Calibri" pitchFamily="34" charset="0"/>
              </a:defRPr>
            </a:lvl5pPr>
            <a:lvl8pPr marL="3191744" indent="0">
              <a:buNone/>
              <a:defRPr/>
            </a:lvl8pPr>
          </a:lstStyle>
          <a:p>
            <a:pPr lvl="0"/>
            <a:r>
              <a:rPr lang="nb-NO" dirty="0"/>
              <a:t>Text</a:t>
            </a:r>
          </a:p>
          <a:p>
            <a:pPr lvl="1"/>
            <a:r>
              <a:rPr lang="nb-NO" dirty="0"/>
              <a:t>Text</a:t>
            </a:r>
          </a:p>
          <a:p>
            <a:pPr lvl="2"/>
            <a:r>
              <a:rPr lang="nb-NO" dirty="0"/>
              <a:t>Text</a:t>
            </a:r>
          </a:p>
          <a:p>
            <a:pPr lvl="3"/>
            <a:r>
              <a:rPr lang="nb-NO" dirty="0"/>
              <a:t>Tex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7995" y="750325"/>
            <a:ext cx="8686006" cy="0"/>
          </a:xfrm>
          <a:prstGeom prst="line">
            <a:avLst/>
          </a:prstGeom>
          <a:ln w="12700">
            <a:solidFill>
              <a:srgbClr val="E6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000">
                <a:solidFill>
                  <a:srgbClr val="E60000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nb-NO"/>
              <a:t>Master Title Slide Headline</a:t>
            </a:r>
            <a:endParaRPr lang="nb-NO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7497940" y="4923736"/>
            <a:ext cx="536400" cy="18365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 defTabSz="911927">
              <a:defRPr/>
            </a:pPr>
            <a:fld id="{597A8DCA-8F96-49CD-B4D5-7AC92F955860}" type="slidenum">
              <a:rPr lang="nb-NO" sz="900">
                <a:solidFill>
                  <a:srgbClr val="7F7F7F"/>
                </a:solidFill>
                <a:latin typeface="Calibri" pitchFamily="34" charset="0"/>
                <a:cs typeface="Calibri" pitchFamily="34" charset="0"/>
              </a:rPr>
              <a:pPr algn="r" defTabSz="911927">
                <a:defRPr/>
              </a:pPr>
              <a:t>‹#›</a:t>
            </a:fld>
            <a:endParaRPr lang="nb-NO" sz="900" dirty="0">
              <a:solidFill>
                <a:srgbClr val="7F7F7F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8842" y="750342"/>
            <a:ext cx="8205261" cy="257254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363636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1026" name="Picture 2" descr="http://ruter.no/Global/ruter_logo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7037" y="4938202"/>
            <a:ext cx="866775" cy="150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457201" y="4923736"/>
            <a:ext cx="7416000" cy="183657"/>
          </a:xfrm>
        </p:spPr>
        <p:txBody>
          <a:bodyPr anchor="b">
            <a:noAutofit/>
          </a:bodyPr>
          <a:lstStyle>
            <a:lvl1pPr marL="0" indent="0">
              <a:buNone/>
              <a:defRPr sz="9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nb-NO"/>
              <a:t>Kilde: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2443746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F233E-DDA0-4538-9DCE-B99A5F957B8E}" type="datetime1">
              <a:rPr lang="en-US">
                <a:solidFill>
                  <a:srgbClr val="32374B"/>
                </a:solidFill>
              </a:rPr>
              <a:pPr/>
              <a:t>9/21/2018</a:t>
            </a:fld>
            <a:endParaRPr dirty="0">
              <a:solidFill>
                <a:srgbClr val="32374B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32374B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785221-A51B-4371-B866-038075B34EEB}" type="slidenum">
              <a:rPr lang="nb-NO" smtClean="0">
                <a:solidFill>
                  <a:srgbClr val="32374B"/>
                </a:solidFill>
              </a:rPr>
              <a:pPr/>
              <a:t>‹#›</a:t>
            </a:fld>
            <a:endParaRPr lang="nb-NO" dirty="0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4792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lysbilde Bå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271"/>
            <a:ext cx="9143621" cy="3534327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4999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50" y="2779550"/>
            <a:ext cx="7980536" cy="353924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299">
                <a:solidFill>
                  <a:schemeClr val="bg1"/>
                </a:solidFill>
              </a:defRPr>
            </a:lvl1pPr>
            <a:lvl2pPr marL="342737" indent="0" algn="ctr">
              <a:buNone/>
              <a:defRPr sz="1500"/>
            </a:lvl2pPr>
            <a:lvl3pPr marL="685474" indent="0" algn="ctr">
              <a:buNone/>
              <a:defRPr sz="1350"/>
            </a:lvl3pPr>
            <a:lvl4pPr marL="1028211" indent="0" algn="ctr">
              <a:buNone/>
              <a:defRPr sz="1200"/>
            </a:lvl4pPr>
            <a:lvl5pPr marL="1370949" indent="0" algn="ctr">
              <a:buNone/>
              <a:defRPr sz="1200"/>
            </a:lvl5pPr>
            <a:lvl6pPr marL="1713686" indent="0" algn="ctr">
              <a:buNone/>
              <a:defRPr sz="1200"/>
            </a:lvl6pPr>
            <a:lvl7pPr marL="2056423" indent="0" algn="ctr">
              <a:buNone/>
              <a:defRPr sz="1200"/>
            </a:lvl7pPr>
            <a:lvl8pPr marL="2399160" indent="0" algn="ctr">
              <a:buNone/>
              <a:defRPr sz="1200"/>
            </a:lvl8pPr>
            <a:lvl9pPr marL="2741897" indent="0" algn="ctr">
              <a:buNone/>
              <a:defRPr sz="12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50" y="3703503"/>
            <a:ext cx="7980536" cy="184723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50" y="3464147"/>
            <a:ext cx="7980536" cy="18466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pPr defTabSz="455960">
              <a:defRPr/>
            </a:pPr>
            <a:endParaRPr lang="nb-NO" dirty="0">
              <a:solidFill>
                <a:srgbClr val="FFFFFF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7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455960">
              <a:defRPr/>
            </a:pPr>
            <a:r>
              <a:rPr lang="nb-NO">
                <a:solidFill>
                  <a:srgbClr val="FFFFFF"/>
                </a:solidFill>
              </a:rPr>
              <a:t>Bunntekst</a:t>
            </a:r>
            <a:endParaRPr lang="nb-NO" dirty="0">
              <a:solidFill>
                <a:srgbClr val="FFFFFF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6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pPr defTabSz="455960">
              <a:defRPr/>
            </a:pPr>
            <a:fld id="{304AD70F-8AF0-406B-B894-62E0F3D04367}" type="slidenum">
              <a:rPr lang="nb-NO" smtClean="0">
                <a:solidFill>
                  <a:srgbClr val="FFFFFF"/>
                </a:solidFill>
              </a:rPr>
              <a:pPr defTabSz="455960">
                <a:defRPr/>
              </a:pPr>
              <a:t>‹#›</a:t>
            </a:fld>
            <a:endParaRPr lang="nb-NO" dirty="0">
              <a:solidFill>
                <a:srgbClr val="FFFFFF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5" y="4651312"/>
            <a:ext cx="1487427" cy="493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9154631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tel og innhold - hvit bu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799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1999"/>
            </a:lvl1pPr>
            <a:lvl2pPr>
              <a:defRPr sz="1999"/>
            </a:lvl2pPr>
            <a:lvl3pPr>
              <a:defRPr sz="1999"/>
            </a:lvl3pPr>
            <a:lvl4pPr>
              <a:defRPr sz="1999"/>
            </a:lvl4pPr>
            <a:lvl5pPr>
              <a:defRPr sz="1999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6" y="4828610"/>
            <a:ext cx="143644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pPr defTabSz="455960">
              <a:defRPr/>
            </a:pPr>
            <a:fld id="{304AD70F-8AF0-406B-B894-62E0F3D04367}" type="slidenum">
              <a:rPr lang="nb-NO" smtClean="0"/>
              <a:pPr defTabSz="455960">
                <a:defRPr/>
              </a:pPr>
              <a:t>‹#›</a:t>
            </a:fld>
            <a:endParaRPr lang="nb-NO" dirty="0"/>
          </a:p>
        </p:txBody>
      </p:sp>
      <p:sp>
        <p:nvSpPr>
          <p:cNvPr id="9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4" y="4828611"/>
            <a:ext cx="6520573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pPr defTabSz="455960">
              <a:defRPr/>
            </a:pPr>
            <a:r>
              <a:rPr lang="nb-NO"/>
              <a:t>Bunntekst</a:t>
            </a:r>
            <a:endParaRPr lang="nb-NO" dirty="0"/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9912" y="4737776"/>
            <a:ext cx="820800" cy="177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975644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61"/>
            <a:ext cx="9144000" cy="5142775"/>
          </a:xfrm>
          <a:prstGeom prst="rect">
            <a:avLst/>
          </a:prstGeom>
        </p:spPr>
      </p:pic>
      <p:pic>
        <p:nvPicPr>
          <p:cNvPr id="14" name="Bilde 13" descr="Logo-hvi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0088" y="4664249"/>
            <a:ext cx="1159780" cy="222386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ktangel 9"/>
          <p:cNvSpPr/>
          <p:nvPr userDrawn="1"/>
        </p:nvSpPr>
        <p:spPr>
          <a:xfrm>
            <a:off x="467546" y="843822"/>
            <a:ext cx="8280920" cy="2070869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02" tIns="45699" rIns="91402" bIns="45699" rtlCol="0" anchor="ctr"/>
          <a:lstStyle/>
          <a:p>
            <a:pPr algn="ctr" defTabSz="914017"/>
            <a:endParaRPr lang="nb-NO" sz="1350" dirty="0">
              <a:solidFill>
                <a:srgbClr val="FFFFFF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11188" y="1600144"/>
            <a:ext cx="7772400" cy="612256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11188" y="915849"/>
            <a:ext cx="7777236" cy="648272"/>
          </a:xfrm>
        </p:spPr>
        <p:txBody>
          <a:bodyPr>
            <a:no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</a:defRPr>
            </a:lvl1pPr>
            <a:lvl2pPr marL="457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0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0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115616" y="4680104"/>
            <a:ext cx="1008112" cy="2192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581C18-EA37-4CF0-B552-8B4D7030CD98}" type="datetime1">
              <a:rPr lang="en-US" smtClean="0">
                <a:solidFill>
                  <a:srgbClr val="FFFFFF"/>
                </a:solidFill>
              </a:rPr>
              <a:pPr/>
              <a:t>9/21/2018</a:t>
            </a:fld>
            <a:endParaRPr dirty="0">
              <a:solidFill>
                <a:srgbClr val="FFFFFF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2195736" y="4680104"/>
            <a:ext cx="5184576" cy="2192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dirty="0">
              <a:solidFill>
                <a:srgbClr val="FFFFFF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611188" y="4679429"/>
            <a:ext cx="405408" cy="2160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785221-A51B-4371-B866-038075B34EEB}" type="slidenum">
              <a:rPr lang="nb-NO" smtClean="0">
                <a:solidFill>
                  <a:srgbClr val="FFFFFF"/>
                </a:solidFill>
              </a:rPr>
              <a:pPr/>
              <a:t>‹#›</a:t>
            </a:fld>
            <a:endParaRPr lang="nb-NO" dirty="0">
              <a:solidFill>
                <a:srgbClr val="FFFFFF"/>
              </a:solidFill>
            </a:endParaRPr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188" y="2212402"/>
            <a:ext cx="7777162" cy="648849"/>
          </a:xfrm>
        </p:spPr>
        <p:txBody>
          <a:bodyPr>
            <a:normAutofit/>
          </a:bodyPr>
          <a:lstStyle>
            <a:lvl1pPr marL="0" indent="0">
              <a:buNone/>
              <a:defRPr sz="1800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nb-NO" dirty="0"/>
              <a:t>Klikk for å legge til sted og dato</a:t>
            </a:r>
            <a:br>
              <a:rPr lang="nb-NO" dirty="0"/>
            </a:br>
            <a:r>
              <a:rPr lang="nb-NO" dirty="0"/>
              <a:t>og fornavn, etternavn og stillingstittel</a:t>
            </a:r>
          </a:p>
        </p:txBody>
      </p:sp>
    </p:spTree>
    <p:extLst>
      <p:ext uri="{BB962C8B-B14F-4D97-AF65-F5344CB8AC3E}">
        <p14:creationId xmlns:p14="http://schemas.microsoft.com/office/powerpoint/2010/main" val="14419850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D52192-EE01-4A77-A1F8-EF0BFCADE628}" type="datetime1">
              <a:rPr lang="en-US">
                <a:solidFill>
                  <a:srgbClr val="32374B"/>
                </a:solidFill>
              </a:rPr>
              <a:pPr/>
              <a:t>9/21/2018</a:t>
            </a:fld>
            <a:endParaRPr dirty="0">
              <a:solidFill>
                <a:srgbClr val="32374B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32374B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785221-A51B-4371-B866-038075B34EEB}" type="slidenum">
              <a:rPr lang="nb-NO" smtClean="0">
                <a:solidFill>
                  <a:srgbClr val="32374B"/>
                </a:solidFill>
              </a:rPr>
              <a:pPr/>
              <a:t>‹#›</a:t>
            </a:fld>
            <a:endParaRPr lang="nb-NO" dirty="0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8644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11188" y="1059911"/>
            <a:ext cx="3744788" cy="3536131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716016" y="1059911"/>
            <a:ext cx="3970784" cy="3536131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89129F-8DDC-47F6-9D73-3C0ED79F9011}" type="datetime1">
              <a:rPr lang="en-US">
                <a:solidFill>
                  <a:srgbClr val="32374B"/>
                </a:solidFill>
              </a:rPr>
              <a:pPr/>
              <a:t>9/21/2018</a:t>
            </a:fld>
            <a:endParaRPr dirty="0">
              <a:solidFill>
                <a:srgbClr val="32374B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32374B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785221-A51B-4371-B866-038075B34EEB}" type="slidenum">
              <a:rPr lang="nb-NO" smtClean="0">
                <a:solidFill>
                  <a:srgbClr val="32374B"/>
                </a:solidFill>
              </a:rPr>
              <a:pPr/>
              <a:t>‹#›</a:t>
            </a:fld>
            <a:endParaRPr lang="nb-NO" dirty="0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4235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11188" y="1059918"/>
            <a:ext cx="3744788" cy="642019"/>
          </a:xfrm>
        </p:spPr>
        <p:txBody>
          <a:bodyPr anchor="t"/>
          <a:lstStyle>
            <a:lvl1pPr marL="0" indent="0">
              <a:buNone/>
              <a:defRPr sz="2400" b="1"/>
            </a:lvl1pPr>
            <a:lvl2pPr marL="457008" indent="0">
              <a:buNone/>
              <a:defRPr sz="2000" b="1"/>
            </a:lvl2pPr>
            <a:lvl3pPr marL="914017" indent="0">
              <a:buNone/>
              <a:defRPr sz="1800" b="1"/>
            </a:lvl3pPr>
            <a:lvl4pPr marL="1371025" indent="0">
              <a:buNone/>
              <a:defRPr sz="1600" b="1"/>
            </a:lvl4pPr>
            <a:lvl5pPr marL="1828032" indent="0">
              <a:buNone/>
              <a:defRPr sz="1600" b="1"/>
            </a:lvl5pPr>
            <a:lvl6pPr marL="2285040" indent="0">
              <a:buNone/>
              <a:defRPr sz="1600" b="1"/>
            </a:lvl6pPr>
            <a:lvl7pPr marL="2742049" indent="0">
              <a:buNone/>
              <a:defRPr sz="1600" b="1"/>
            </a:lvl7pPr>
            <a:lvl8pPr marL="3199057" indent="0">
              <a:buNone/>
              <a:defRPr sz="1600" b="1"/>
            </a:lvl8pPr>
            <a:lvl9pPr marL="3656064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1188" y="1708183"/>
            <a:ext cx="3744788" cy="288785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716031" y="1059909"/>
            <a:ext cx="4032697" cy="64827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08" indent="0">
              <a:buNone/>
              <a:defRPr sz="2000" b="1"/>
            </a:lvl2pPr>
            <a:lvl3pPr marL="914017" indent="0">
              <a:buNone/>
              <a:defRPr sz="1800" b="1"/>
            </a:lvl3pPr>
            <a:lvl4pPr marL="1371025" indent="0">
              <a:buNone/>
              <a:defRPr sz="1600" b="1"/>
            </a:lvl4pPr>
            <a:lvl5pPr marL="1828032" indent="0">
              <a:buNone/>
              <a:defRPr sz="1600" b="1"/>
            </a:lvl5pPr>
            <a:lvl6pPr marL="2285040" indent="0">
              <a:buNone/>
              <a:defRPr sz="1600" b="1"/>
            </a:lvl6pPr>
            <a:lvl7pPr marL="2742049" indent="0">
              <a:buNone/>
              <a:defRPr sz="1600" b="1"/>
            </a:lvl7pPr>
            <a:lvl8pPr marL="3199057" indent="0">
              <a:buNone/>
              <a:defRPr sz="1600" b="1"/>
            </a:lvl8pPr>
            <a:lvl9pPr marL="3656064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716016" y="1631662"/>
            <a:ext cx="3970784" cy="296438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71001A-1168-4379-A9E9-3CB9A38965DA}" type="datetime1">
              <a:rPr lang="en-US">
                <a:solidFill>
                  <a:srgbClr val="32374B"/>
                </a:solidFill>
              </a:rPr>
              <a:pPr/>
              <a:t>9/21/2018</a:t>
            </a:fld>
            <a:endParaRPr dirty="0">
              <a:solidFill>
                <a:srgbClr val="32374B"/>
              </a:solidFill>
            </a:endParaRPr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32374B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785221-A51B-4371-B866-038075B34EEB}" type="slidenum">
              <a:rPr lang="nb-NO" smtClean="0">
                <a:solidFill>
                  <a:srgbClr val="32374B"/>
                </a:solidFill>
              </a:rPr>
              <a:pPr/>
              <a:t>‹#›</a:t>
            </a:fld>
            <a:endParaRPr lang="nb-NO" dirty="0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678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ødtekst med pun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11196" y="1059909"/>
            <a:ext cx="8137525" cy="1458612"/>
          </a:xfrm>
        </p:spPr>
        <p:txBody>
          <a:bodyPr tIns="71970" anchor="t">
            <a:normAutofit/>
          </a:bodyPr>
          <a:lstStyle>
            <a:lvl1pPr marL="0" indent="0">
              <a:buNone/>
              <a:defRPr sz="2400" b="0"/>
            </a:lvl1pPr>
            <a:lvl2pPr marL="457008" indent="0">
              <a:buNone/>
              <a:defRPr sz="2000" b="1"/>
            </a:lvl2pPr>
            <a:lvl3pPr marL="914017" indent="0">
              <a:buNone/>
              <a:defRPr sz="1800" b="1"/>
            </a:lvl3pPr>
            <a:lvl4pPr marL="1371025" indent="0">
              <a:buNone/>
              <a:defRPr sz="1600" b="1"/>
            </a:lvl4pPr>
            <a:lvl5pPr marL="1828032" indent="0">
              <a:buNone/>
              <a:defRPr sz="1600" b="1"/>
            </a:lvl5pPr>
            <a:lvl6pPr marL="2285040" indent="0">
              <a:buNone/>
              <a:defRPr sz="1600" b="1"/>
            </a:lvl6pPr>
            <a:lvl7pPr marL="2742049" indent="0">
              <a:buNone/>
              <a:defRPr sz="1600" b="1"/>
            </a:lvl7pPr>
            <a:lvl8pPr marL="3199057" indent="0">
              <a:buNone/>
              <a:defRPr sz="1600" b="1"/>
            </a:lvl8pPr>
            <a:lvl9pPr marL="3656064" indent="0">
              <a:buNone/>
              <a:defRPr sz="1600" b="1"/>
            </a:lvl9pPr>
          </a:lstStyle>
          <a:p>
            <a:pPr lvl="0"/>
            <a:r>
              <a:rPr lang="nb-NO" dirty="0"/>
              <a:t>Klikk for å skrive brødtekst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1196" y="2572547"/>
            <a:ext cx="8137525" cy="202349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0F282A-FEB3-45AE-AF75-CA9FCE549D64}" type="datetime1">
              <a:rPr lang="en-US">
                <a:solidFill>
                  <a:srgbClr val="32374B"/>
                </a:solidFill>
              </a:rPr>
              <a:pPr/>
              <a:t>9/21/2018</a:t>
            </a:fld>
            <a:endParaRPr dirty="0">
              <a:solidFill>
                <a:srgbClr val="32374B"/>
              </a:solidFill>
            </a:endParaRPr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32374B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785221-A51B-4371-B866-038075B34EEB}" type="slidenum">
              <a:rPr lang="nb-NO" smtClean="0">
                <a:solidFill>
                  <a:srgbClr val="32374B"/>
                </a:solidFill>
              </a:rPr>
              <a:pPr/>
              <a:t>‹#›</a:t>
            </a:fld>
            <a:endParaRPr lang="nb-NO" dirty="0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668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BDAEF-5C9A-42C5-B390-141539CEE15C}" type="datetime1">
              <a:rPr lang="en-US">
                <a:solidFill>
                  <a:srgbClr val="32374B"/>
                </a:solidFill>
              </a:rPr>
              <a:pPr/>
              <a:t>9/21/2018</a:t>
            </a:fld>
            <a:endParaRPr dirty="0">
              <a:solidFill>
                <a:srgbClr val="32374B"/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32374B"/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785221-A51B-4371-B866-038075B34EEB}" type="slidenum">
              <a:rPr lang="nb-NO" smtClean="0">
                <a:solidFill>
                  <a:srgbClr val="32374B"/>
                </a:solidFill>
              </a:rPr>
              <a:pPr/>
              <a:t>‹#›</a:t>
            </a:fld>
            <a:endParaRPr lang="nb-NO" dirty="0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5482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D8101E-77DB-4D5D-BE45-8CBCEE45251A}" type="datetime1">
              <a:rPr lang="en-US">
                <a:solidFill>
                  <a:srgbClr val="32374B"/>
                </a:solidFill>
              </a:rPr>
              <a:pPr/>
              <a:t>9/21/2018</a:t>
            </a:fld>
            <a:endParaRPr dirty="0">
              <a:solidFill>
                <a:srgbClr val="32374B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32374B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785221-A51B-4371-B866-038075B34EEB}" type="slidenum">
              <a:rPr lang="nb-NO" smtClean="0">
                <a:solidFill>
                  <a:srgbClr val="32374B"/>
                </a:solidFill>
              </a:rPr>
              <a:pPr/>
              <a:t>‹#›</a:t>
            </a:fld>
            <a:endParaRPr lang="nb-NO" dirty="0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951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vadratisk bilde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714106" y="1221958"/>
            <a:ext cx="3651420" cy="2727842"/>
          </a:xfrm>
        </p:spPr>
        <p:txBody>
          <a:bodyPr/>
          <a:lstStyle>
            <a:lvl1pPr marL="0" indent="0">
              <a:buNone/>
              <a:defRPr sz="3200"/>
            </a:lvl1pPr>
            <a:lvl2pPr marL="457008" indent="0">
              <a:buNone/>
              <a:defRPr sz="2800"/>
            </a:lvl2pPr>
            <a:lvl3pPr marL="914017" indent="0">
              <a:buNone/>
              <a:defRPr sz="2400"/>
            </a:lvl3pPr>
            <a:lvl4pPr marL="1371025" indent="0">
              <a:buNone/>
              <a:defRPr sz="2000"/>
            </a:lvl4pPr>
            <a:lvl5pPr marL="1828032" indent="0">
              <a:buNone/>
              <a:defRPr sz="2000"/>
            </a:lvl5pPr>
            <a:lvl6pPr marL="2285040" indent="0">
              <a:buNone/>
              <a:defRPr sz="2000"/>
            </a:lvl6pPr>
            <a:lvl7pPr marL="2742049" indent="0">
              <a:buNone/>
              <a:defRPr sz="2000"/>
            </a:lvl7pPr>
            <a:lvl8pPr marL="3199057" indent="0">
              <a:buNone/>
              <a:defRPr sz="2000"/>
            </a:lvl8pPr>
            <a:lvl9pPr marL="3656064" indent="0">
              <a:buNone/>
              <a:defRPr sz="2000"/>
            </a:lvl9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3796D8-1575-4461-AA64-5B9832273320}" type="datetime1">
              <a:rPr lang="en-US">
                <a:solidFill>
                  <a:srgbClr val="32374B"/>
                </a:solidFill>
              </a:rPr>
              <a:pPr/>
              <a:t>9/21/2018</a:t>
            </a:fld>
            <a:endParaRPr dirty="0">
              <a:solidFill>
                <a:srgbClr val="32374B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32374B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785221-A51B-4371-B866-038075B34EEB}" type="slidenum">
              <a:rPr lang="nb-NO" smtClean="0">
                <a:solidFill>
                  <a:srgbClr val="32374B"/>
                </a:solidFill>
              </a:rPr>
              <a:pPr/>
              <a:t>‹#›</a:t>
            </a:fld>
            <a:endParaRPr lang="nb-NO" dirty="0">
              <a:solidFill>
                <a:srgbClr val="32374B"/>
              </a:solidFill>
            </a:endParaRPr>
          </a:p>
        </p:txBody>
      </p:sp>
      <p:sp>
        <p:nvSpPr>
          <p:cNvPr id="9" name="Plassholder for innhold 3"/>
          <p:cNvSpPr>
            <a:spLocks noGrp="1"/>
          </p:cNvSpPr>
          <p:nvPr>
            <p:ph sz="half" idx="2"/>
          </p:nvPr>
        </p:nvSpPr>
        <p:spPr>
          <a:xfrm>
            <a:off x="4716016" y="1059910"/>
            <a:ext cx="3970784" cy="2917224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Tittel 1"/>
          <p:cNvSpPr>
            <a:spLocks noGrp="1"/>
          </p:cNvSpPr>
          <p:nvPr>
            <p:ph type="title"/>
          </p:nvPr>
        </p:nvSpPr>
        <p:spPr>
          <a:xfrm>
            <a:off x="611560" y="465662"/>
            <a:ext cx="8075240" cy="539967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530595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6044"/>
            <a:ext cx="2057400" cy="4389999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6044"/>
            <a:ext cx="6019800" cy="4389999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8DBDD6-5189-4D96-8CF2-078B16485B13}" type="datetime1">
              <a:rPr lang="en-US">
                <a:solidFill>
                  <a:srgbClr val="32374B"/>
                </a:solidFill>
              </a:rPr>
              <a:pPr/>
              <a:t>9/21/2018</a:t>
            </a:fld>
            <a:endParaRPr dirty="0">
              <a:solidFill>
                <a:srgbClr val="32374B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32374B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785221-A51B-4371-B866-038075B34EEB}" type="slidenum">
              <a:rPr lang="nb-NO" smtClean="0">
                <a:solidFill>
                  <a:srgbClr val="32374B"/>
                </a:solidFill>
              </a:rPr>
              <a:pPr/>
              <a:t>‹#›</a:t>
            </a:fld>
            <a:endParaRPr lang="nb-NO" dirty="0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7660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norama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714106" y="1221958"/>
            <a:ext cx="8034610" cy="2727842"/>
          </a:xfrm>
        </p:spPr>
        <p:txBody>
          <a:bodyPr/>
          <a:lstStyle>
            <a:lvl1pPr marL="0" indent="0">
              <a:buNone/>
              <a:defRPr sz="3200"/>
            </a:lvl1pPr>
            <a:lvl2pPr marL="457008" indent="0">
              <a:buNone/>
              <a:defRPr sz="2800"/>
            </a:lvl2pPr>
            <a:lvl3pPr marL="914017" indent="0">
              <a:buNone/>
              <a:defRPr sz="2400"/>
            </a:lvl3pPr>
            <a:lvl4pPr marL="1371025" indent="0">
              <a:buNone/>
              <a:defRPr sz="2000"/>
            </a:lvl4pPr>
            <a:lvl5pPr marL="1828032" indent="0">
              <a:buNone/>
              <a:defRPr sz="2000"/>
            </a:lvl5pPr>
            <a:lvl6pPr marL="2285040" indent="0">
              <a:buNone/>
              <a:defRPr sz="2000"/>
            </a:lvl6pPr>
            <a:lvl7pPr marL="2742049" indent="0">
              <a:buNone/>
              <a:defRPr sz="2000"/>
            </a:lvl7pPr>
            <a:lvl8pPr marL="3199057" indent="0">
              <a:buNone/>
              <a:defRPr sz="2000"/>
            </a:lvl8pPr>
            <a:lvl9pPr marL="3656064" indent="0">
              <a:buNone/>
              <a:defRPr sz="2000"/>
            </a:lvl9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E30DE7-ED98-4A20-99FF-288CEE9FD113}" type="datetime1">
              <a:rPr lang="en-US">
                <a:solidFill>
                  <a:srgbClr val="32374B"/>
                </a:solidFill>
              </a:rPr>
              <a:pPr/>
              <a:t>9/21/2018</a:t>
            </a:fld>
            <a:endParaRPr dirty="0">
              <a:solidFill>
                <a:srgbClr val="32374B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32374B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785221-A51B-4371-B866-038075B34EEB}" type="slidenum">
              <a:rPr lang="nb-NO" smtClean="0">
                <a:solidFill>
                  <a:srgbClr val="32374B"/>
                </a:solidFill>
              </a:rPr>
              <a:pPr/>
              <a:t>‹#›</a:t>
            </a:fld>
            <a:endParaRPr lang="nb-NO" dirty="0">
              <a:solidFill>
                <a:srgbClr val="32374B"/>
              </a:solidFill>
            </a:endParaRPr>
          </a:p>
        </p:txBody>
      </p:sp>
      <p:sp>
        <p:nvSpPr>
          <p:cNvPr id="10" name="Tittel 1"/>
          <p:cNvSpPr>
            <a:spLocks noGrp="1"/>
          </p:cNvSpPr>
          <p:nvPr>
            <p:ph type="title"/>
          </p:nvPr>
        </p:nvSpPr>
        <p:spPr>
          <a:xfrm>
            <a:off x="611560" y="465662"/>
            <a:ext cx="8075240" cy="539967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659741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DF233E-DDA0-4538-9DCE-B99A5F957B8E}" type="datetime1">
              <a:rPr lang="en-US">
                <a:solidFill>
                  <a:srgbClr val="32374B"/>
                </a:solidFill>
              </a:rPr>
              <a:pPr/>
              <a:t>9/21/2018</a:t>
            </a:fld>
            <a:endParaRPr dirty="0">
              <a:solidFill>
                <a:srgbClr val="32374B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32374B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785221-A51B-4371-B866-038075B34EEB}" type="slidenum">
              <a:rPr lang="nb-NO" smtClean="0">
                <a:solidFill>
                  <a:srgbClr val="32374B"/>
                </a:solidFill>
              </a:rPr>
              <a:pPr/>
              <a:t>‹#›</a:t>
            </a:fld>
            <a:endParaRPr lang="nb-NO" dirty="0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5174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6046"/>
            <a:ext cx="2057400" cy="4389999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6046"/>
            <a:ext cx="6019800" cy="4389999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8DBDD6-5189-4D96-8CF2-078B16485B13}" type="datetime1">
              <a:rPr lang="en-US">
                <a:solidFill>
                  <a:srgbClr val="32374B"/>
                </a:solidFill>
              </a:rPr>
              <a:pPr/>
              <a:t>9/21/2018</a:t>
            </a:fld>
            <a:endParaRPr dirty="0">
              <a:solidFill>
                <a:srgbClr val="32374B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>
              <a:solidFill>
                <a:srgbClr val="32374B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B785221-A51B-4371-B866-038075B34EEB}" type="slidenum">
              <a:rPr lang="nb-NO" smtClean="0">
                <a:solidFill>
                  <a:srgbClr val="32374B"/>
                </a:solidFill>
              </a:rPr>
              <a:pPr/>
              <a:t>‹#›</a:t>
            </a:fld>
            <a:endParaRPr lang="nb-NO" dirty="0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3764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dekkende bilde med hvit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1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5088"/>
          </a:xfrm>
        </p:spPr>
        <p:txBody>
          <a:bodyPr>
            <a:normAutofit/>
          </a:bodyPr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r>
              <a:rPr lang="nb-NO" dirty="0">
                <a:solidFill>
                  <a:schemeClr val="bg1"/>
                </a:solidFill>
              </a:rPr>
              <a:t>Trykk på knappen midt i lysbildet for å sette inn heldekkende bilde</a:t>
            </a:r>
            <a:endParaRPr lang="nb-NO" dirty="0"/>
          </a:p>
        </p:txBody>
      </p:sp>
      <p:sp>
        <p:nvSpPr>
          <p:cNvPr id="21" name="Plassholder for tekst 20"/>
          <p:cNvSpPr>
            <a:spLocks noGrp="1"/>
          </p:cNvSpPr>
          <p:nvPr>
            <p:ph type="body" sz="quarter" idx="11" hasCustomPrompt="1"/>
          </p:nvPr>
        </p:nvSpPr>
        <p:spPr>
          <a:xfrm>
            <a:off x="7624814" y="4656242"/>
            <a:ext cx="1171709" cy="22802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nb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95602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dekkende bilde med sort log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1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5088"/>
          </a:xfrm>
        </p:spPr>
        <p:txBody>
          <a:bodyPr>
            <a:normAutofit/>
          </a:bodyPr>
          <a:lstStyle>
            <a:lvl1pPr>
              <a:defRPr sz="2000" baseline="0">
                <a:solidFill>
                  <a:schemeClr val="tx1"/>
                </a:solidFill>
              </a:defRPr>
            </a:lvl1pPr>
          </a:lstStyle>
          <a:p>
            <a:r>
              <a:rPr lang="nb-NO" dirty="0">
                <a:solidFill>
                  <a:schemeClr val="bg1"/>
                </a:solidFill>
              </a:rPr>
              <a:t>Trykk på knappen midt i lysbildet for å sette inn heldekkende bilde</a:t>
            </a:r>
            <a:br>
              <a:rPr lang="nb-NO" dirty="0">
                <a:solidFill>
                  <a:schemeClr val="bg1"/>
                </a:solidFill>
              </a:rPr>
            </a:br>
            <a:endParaRPr lang="nb-NO" dirty="0"/>
          </a:p>
        </p:txBody>
      </p:sp>
      <p:sp>
        <p:nvSpPr>
          <p:cNvPr id="4" name="Plassholder for tekst 20"/>
          <p:cNvSpPr>
            <a:spLocks noGrp="1"/>
          </p:cNvSpPr>
          <p:nvPr>
            <p:ph type="body" sz="quarter" idx="12" hasCustomPrompt="1"/>
          </p:nvPr>
        </p:nvSpPr>
        <p:spPr>
          <a:xfrm>
            <a:off x="7624814" y="4656242"/>
            <a:ext cx="1171709" cy="22802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nb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92052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41" y="1082"/>
          <a:ext cx="144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41" y="1082"/>
                        <a:ext cx="1440" cy="1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auto">
          <a:xfrm>
            <a:off x="11209" y="776058"/>
            <a:ext cx="9144000" cy="372422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1589" tIns="40794" rIns="81589" bIns="40794" numCol="1" rtlCol="0" anchor="ctr" anchorCtr="0" compatLnSpc="1">
            <a:prstTxWarp prst="textNoShape">
              <a:avLst/>
            </a:prstTxWarp>
          </a:bodyPr>
          <a:lstStyle/>
          <a:p>
            <a:pPr defTabSz="363745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en-US" sz="1500">
              <a:solidFill>
                <a:srgbClr val="FFFFFF"/>
              </a:solidFill>
              <a:ea typeface="SimSun" pitchFamily="2" charset="-122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5737" y="171134"/>
            <a:ext cx="8621909" cy="50386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l">
              <a:lnSpc>
                <a:spcPct val="100000"/>
              </a:lnSpc>
              <a:defRPr sz="1900" b="1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5737" y="1151301"/>
            <a:ext cx="8621909" cy="3185545"/>
          </a:xfrm>
          <a:prstGeom prst="rect">
            <a:avLst/>
          </a:prstGeom>
        </p:spPr>
        <p:txBody>
          <a:bodyPr/>
          <a:lstStyle>
            <a:lvl1pPr marL="150382" indent="-150382" algn="l">
              <a:buFont typeface="Wingdings" pitchFamily="2" charset="2"/>
              <a:buChar char="§"/>
              <a:defRPr sz="1000">
                <a:solidFill>
                  <a:schemeClr val="tx1"/>
                </a:solidFill>
              </a:defRPr>
            </a:lvl1pPr>
            <a:lvl2pPr marL="510272" indent="-140099" algn="l">
              <a:buFont typeface="Wingdings" pitchFamily="2" charset="2"/>
              <a:buChar char="§"/>
              <a:defRPr sz="1000">
                <a:solidFill>
                  <a:schemeClr val="tx1"/>
                </a:solidFill>
              </a:defRPr>
            </a:lvl2pPr>
            <a:lvl3pPr marL="940853" indent="-200510" algn="l">
              <a:buFont typeface="Wingdings" pitchFamily="2" charset="2"/>
              <a:buChar char="§"/>
              <a:defRPr sz="1000">
                <a:solidFill>
                  <a:schemeClr val="tx1"/>
                </a:solidFill>
              </a:defRPr>
            </a:lvl3pPr>
            <a:lvl4pPr algn="l">
              <a:buFont typeface="Wingdings" pitchFamily="2" charset="2"/>
              <a:buChar char="§"/>
              <a:defRPr sz="1000">
                <a:solidFill>
                  <a:schemeClr val="tx1"/>
                </a:solidFill>
              </a:defRPr>
            </a:lvl4pPr>
            <a:lvl5pPr algn="l">
              <a:buFont typeface="Wingdings" pitchFamily="2" charset="2"/>
              <a:buChar char="§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7250028" y="4827445"/>
            <a:ext cx="1044383" cy="273353"/>
          </a:xfrm>
        </p:spPr>
        <p:txBody>
          <a:bodyPr/>
          <a:lstStyle>
            <a:lvl1pPr algn="r">
              <a:defRPr sz="1000" b="1" smtClean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>
              <a:defRPr/>
            </a:pPr>
            <a:fld id="{C91976CA-5F44-41E6-9D8D-1F37A3950364}" type="datetime1">
              <a:rPr lang="en-US">
                <a:solidFill>
                  <a:prstClr val="black">
                    <a:lumMod val="85000"/>
                    <a:lumOff val="15000"/>
                  </a:prstClr>
                </a:solidFill>
              </a:rPr>
              <a:pPr>
                <a:defRPr/>
              </a:pPr>
              <a:t>9/21/2018</a:t>
            </a:fld>
            <a:endParaRPr lang="en-US" dirty="0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828811" y="4827445"/>
            <a:ext cx="5421217" cy="273353"/>
          </a:xfrm>
        </p:spPr>
        <p:txBody>
          <a:bodyPr/>
          <a:lstStyle>
            <a:lvl1pPr marL="150382" indent="-150382" algn="l">
              <a:defRPr sz="600" b="0" dirty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510272" indent="-510272">
              <a:defRPr/>
            </a:pPr>
            <a:r>
              <a:rPr lang="en-US">
                <a:solidFill>
                  <a:prstClr val="black">
                    <a:lumMod val="85000"/>
                    <a:lumOff val="15000"/>
                  </a:prstClr>
                </a:solidFill>
              </a:rPr>
              <a:t>*	Footer</a:t>
            </a:r>
          </a:p>
          <a:p>
            <a:pPr marL="510272" indent="-510272">
              <a:defRPr/>
            </a:pPr>
            <a:r>
              <a:rPr lang="en-US">
                <a:solidFill>
                  <a:prstClr val="black">
                    <a:lumMod val="85000"/>
                    <a:lumOff val="15000"/>
                  </a:prstClr>
                </a:solidFill>
              </a:rPr>
              <a:t>Source:	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25441" y="4827445"/>
            <a:ext cx="588960" cy="273353"/>
          </a:xfrm>
        </p:spPr>
        <p:txBody>
          <a:bodyPr/>
          <a:lstStyle>
            <a:lvl1pPr algn="r">
              <a:defRPr sz="1000" b="1" smtClean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>
              <a:defRPr/>
            </a:pPr>
            <a:fld id="{6129956D-6D5E-40ED-B4C2-BE386F84BC3B}" type="slidenum">
              <a:rPr lang="en-US">
                <a:solidFill>
                  <a:prstClr val="black">
                    <a:lumMod val="85000"/>
                    <a:lumOff val="1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195849" y="857572"/>
            <a:ext cx="8621797" cy="195712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13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add subject title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 bwMode="auto">
          <a:xfrm>
            <a:off x="11209" y="767643"/>
            <a:ext cx="9144000" cy="0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205482953"/>
      </p:ext>
    </p:extLst>
  </p:cSld>
  <p:clrMapOvr>
    <a:masterClrMapping/>
  </p:clrMapOvr>
  <p:transition spd="med">
    <p:fade/>
  </p:transition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57201" y="1036169"/>
            <a:ext cx="8228012" cy="3619428"/>
          </a:xfrm>
          <a:noFill/>
          <a:ln w="3175">
            <a:noFill/>
          </a:ln>
        </p:spPr>
        <p:txBody>
          <a:bodyPr>
            <a:noAutofit/>
          </a:bodyPr>
          <a:lstStyle>
            <a:lvl1pPr>
              <a:defRPr sz="1400">
                <a:latin typeface="Calibri" pitchFamily="34" charset="0"/>
                <a:cs typeface="Calibri" pitchFamily="34" charset="0"/>
              </a:defRPr>
            </a:lvl1pPr>
            <a:lvl2pPr marL="357079" indent="-179332">
              <a:defRPr sz="1400">
                <a:latin typeface="Calibri" pitchFamily="34" charset="0"/>
                <a:cs typeface="Calibri" pitchFamily="34" charset="0"/>
              </a:defRPr>
            </a:lvl2pPr>
            <a:lvl3pPr marL="534823" indent="-177745">
              <a:defRPr sz="1400">
                <a:latin typeface="Calibri" pitchFamily="34" charset="0"/>
                <a:cs typeface="Calibri" pitchFamily="34" charset="0"/>
              </a:defRPr>
            </a:lvl3pPr>
            <a:lvl4pPr marL="714155" indent="-179332">
              <a:defRPr sz="1400">
                <a:latin typeface="Calibri" pitchFamily="34" charset="0"/>
                <a:cs typeface="Calibri" pitchFamily="34" charset="0"/>
              </a:defRPr>
            </a:lvl4pPr>
            <a:lvl5pPr>
              <a:defRPr sz="1400">
                <a:latin typeface="Calibri" pitchFamily="34" charset="0"/>
                <a:cs typeface="Calibri" pitchFamily="34" charset="0"/>
              </a:defRPr>
            </a:lvl5pPr>
            <a:lvl8pPr marL="3199411" indent="0">
              <a:buNone/>
              <a:defRPr/>
            </a:lvl8pPr>
          </a:lstStyle>
          <a:p>
            <a:pPr lvl="0"/>
            <a:r>
              <a:rPr lang="nb-NO" dirty="0"/>
              <a:t>Text</a:t>
            </a:r>
          </a:p>
          <a:p>
            <a:pPr lvl="1"/>
            <a:r>
              <a:rPr lang="nb-NO" dirty="0"/>
              <a:t>Text</a:t>
            </a:r>
          </a:p>
          <a:p>
            <a:pPr lvl="2"/>
            <a:r>
              <a:rPr lang="nb-NO" dirty="0"/>
              <a:t>Text</a:t>
            </a:r>
          </a:p>
          <a:p>
            <a:pPr lvl="3"/>
            <a:r>
              <a:rPr lang="nb-NO" dirty="0"/>
              <a:t>Tex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7994" y="750326"/>
            <a:ext cx="8686006" cy="0"/>
          </a:xfrm>
          <a:prstGeom prst="line">
            <a:avLst/>
          </a:prstGeom>
          <a:ln w="12700">
            <a:solidFill>
              <a:srgbClr val="E6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000">
                <a:solidFill>
                  <a:srgbClr val="E60000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nb-NO"/>
              <a:t>Master Title Slide Headline</a:t>
            </a:r>
            <a:endParaRPr lang="nb-NO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7497940" y="4923726"/>
            <a:ext cx="536400" cy="18365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 defTabSz="914117"/>
            <a:fld id="{597A8DCA-8F96-49CD-B4D5-7AC92F955860}" type="slidenum">
              <a:rPr lang="nb-NO" sz="900" smtClean="0">
                <a:solidFill>
                  <a:srgbClr val="7F7F7F"/>
                </a:solidFill>
                <a:latin typeface="Calibri" pitchFamily="34" charset="0"/>
                <a:cs typeface="Calibri" pitchFamily="34" charset="0"/>
              </a:rPr>
              <a:pPr algn="r" defTabSz="914117"/>
              <a:t>‹#›</a:t>
            </a:fld>
            <a:endParaRPr lang="nb-NO" sz="900" dirty="0">
              <a:solidFill>
                <a:srgbClr val="7F7F7F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8801" y="750327"/>
            <a:ext cx="8205261" cy="257254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363636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1026" name="Picture 2" descr="http://ruter.no/Global/ruter_logo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7005" y="4938169"/>
            <a:ext cx="866775" cy="150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457201" y="4923726"/>
            <a:ext cx="7416000" cy="183657"/>
          </a:xfrm>
        </p:spPr>
        <p:txBody>
          <a:bodyPr anchor="b">
            <a:noAutofit/>
          </a:bodyPr>
          <a:lstStyle>
            <a:lvl1pPr marL="0" indent="0">
              <a:buNone/>
              <a:defRPr sz="9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nb-NO"/>
              <a:t>Kilde: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97838440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tel, tekst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7880" y="489894"/>
            <a:ext cx="8099891" cy="857515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sz="half" idx="1"/>
          </p:nvPr>
        </p:nvSpPr>
        <p:spPr>
          <a:xfrm>
            <a:off x="598039" y="1587135"/>
            <a:ext cx="4006590" cy="180592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690451" y="1587135"/>
            <a:ext cx="4007483" cy="180592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983120128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killeark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5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9144000" cy="5145088"/>
          </a:xfrm>
          <a:prstGeom prst="rect">
            <a:avLst/>
          </a:prstGeom>
        </p:spPr>
      </p:pic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115616" y="4680104"/>
            <a:ext cx="1008112" cy="2192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A7C5578-6AA8-4271-8665-B897F151F907}" type="datetime1">
              <a:rPr lang="en-US" smtClean="0">
                <a:solidFill>
                  <a:srgbClr val="FFFFFF"/>
                </a:solidFill>
              </a:rPr>
              <a:pPr/>
              <a:t>9/21/2018</a:t>
            </a:fld>
            <a:endParaRPr dirty="0">
              <a:solidFill>
                <a:srgbClr val="FFFFFF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2195736" y="4680104"/>
            <a:ext cx="5184576" cy="2192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dirty="0">
              <a:solidFill>
                <a:srgbClr val="FFFFFF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611188" y="4679429"/>
            <a:ext cx="405408" cy="21609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B785221-A51B-4371-B866-038075B34EEB}" type="slidenum">
              <a:rPr lang="nb-NO" smtClean="0">
                <a:solidFill>
                  <a:srgbClr val="FFFFFF"/>
                </a:solidFill>
              </a:rPr>
              <a:pPr/>
              <a:t>‹#›</a:t>
            </a:fld>
            <a:endParaRPr lang="nb-NO" dirty="0">
              <a:solidFill>
                <a:srgbClr val="FFFFFF"/>
              </a:solidFill>
            </a:endParaRPr>
          </a:p>
        </p:txBody>
      </p:sp>
      <p:sp>
        <p:nvSpPr>
          <p:cNvPr id="12" name="Tittel 1"/>
          <p:cNvSpPr>
            <a:spLocks noGrp="1"/>
          </p:cNvSpPr>
          <p:nvPr>
            <p:ph type="ctrTitle"/>
          </p:nvPr>
        </p:nvSpPr>
        <p:spPr>
          <a:xfrm>
            <a:off x="611188" y="1221967"/>
            <a:ext cx="7772400" cy="379982"/>
          </a:xfrm>
        </p:spPr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15" name="Undertittel 2"/>
          <p:cNvSpPr>
            <a:spLocks noGrp="1"/>
          </p:cNvSpPr>
          <p:nvPr>
            <p:ph type="subTitle" idx="1"/>
          </p:nvPr>
        </p:nvSpPr>
        <p:spPr>
          <a:xfrm>
            <a:off x="611188" y="1600136"/>
            <a:ext cx="7777236" cy="810340"/>
          </a:xfrm>
        </p:spPr>
        <p:txBody>
          <a:bodyPr>
            <a:noAutofit/>
          </a:bodyPr>
          <a:lstStyle>
            <a:lvl1pPr marL="0" indent="0" algn="l">
              <a:buNone/>
              <a:defRPr sz="3200">
                <a:solidFill>
                  <a:schemeClr val="bg1"/>
                </a:solidFill>
              </a:defRPr>
            </a:lvl1pPr>
            <a:lvl2pPr marL="457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0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0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0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0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dirty="0"/>
              <a:t>Klikk for å redigere undertittelstil i malen</a:t>
            </a:r>
          </a:p>
        </p:txBody>
      </p:sp>
      <p:pic>
        <p:nvPicPr>
          <p:cNvPr id="14" name="Bilde 13" descr="Logo-hvi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0088" y="4664249"/>
            <a:ext cx="1159780" cy="22238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3840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dekkende bilde med hvit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1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5088"/>
          </a:xfrm>
        </p:spPr>
        <p:txBody>
          <a:bodyPr>
            <a:normAutofit/>
          </a:bodyPr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r>
              <a:rPr lang="nb-NO" dirty="0">
                <a:solidFill>
                  <a:schemeClr val="bg1"/>
                </a:solidFill>
              </a:rPr>
              <a:t>Trykk på knappen midt i lysbildet for å sette inn heldekkende bilde</a:t>
            </a:r>
            <a:endParaRPr lang="nb-NO" dirty="0"/>
          </a:p>
        </p:txBody>
      </p:sp>
      <p:sp>
        <p:nvSpPr>
          <p:cNvPr id="21" name="Plassholder for tekst 20"/>
          <p:cNvSpPr>
            <a:spLocks noGrp="1"/>
          </p:cNvSpPr>
          <p:nvPr>
            <p:ph type="body" sz="quarter" idx="11" hasCustomPrompt="1"/>
          </p:nvPr>
        </p:nvSpPr>
        <p:spPr>
          <a:xfrm>
            <a:off x="7624825" y="4656240"/>
            <a:ext cx="1171709" cy="22802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nb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400774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dekkende bilde med sort log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1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5088"/>
          </a:xfrm>
        </p:spPr>
        <p:txBody>
          <a:bodyPr>
            <a:normAutofit/>
          </a:bodyPr>
          <a:lstStyle>
            <a:lvl1pPr>
              <a:defRPr sz="2000" baseline="0">
                <a:solidFill>
                  <a:schemeClr val="tx1"/>
                </a:solidFill>
              </a:defRPr>
            </a:lvl1pPr>
          </a:lstStyle>
          <a:p>
            <a:r>
              <a:rPr lang="nb-NO" dirty="0">
                <a:solidFill>
                  <a:schemeClr val="bg1"/>
                </a:solidFill>
              </a:rPr>
              <a:t>Trykk på knappen midt i lysbildet for å sette inn heldekkende bilde</a:t>
            </a:r>
            <a:br>
              <a:rPr lang="nb-NO" dirty="0">
                <a:solidFill>
                  <a:schemeClr val="bg1"/>
                </a:solidFill>
              </a:rPr>
            </a:br>
            <a:endParaRPr lang="nb-NO" dirty="0"/>
          </a:p>
        </p:txBody>
      </p:sp>
      <p:sp>
        <p:nvSpPr>
          <p:cNvPr id="4" name="Plassholder for tekst 20"/>
          <p:cNvSpPr>
            <a:spLocks noGrp="1"/>
          </p:cNvSpPr>
          <p:nvPr>
            <p:ph type="body" sz="quarter" idx="12" hasCustomPrompt="1"/>
          </p:nvPr>
        </p:nvSpPr>
        <p:spPr>
          <a:xfrm>
            <a:off x="7624825" y="4656240"/>
            <a:ext cx="1171709" cy="22802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nb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86425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innhold 1"/>
          <p:cNvSpPr>
            <a:spLocks noGrp="1"/>
          </p:cNvSpPr>
          <p:nvPr>
            <p:ph/>
          </p:nvPr>
        </p:nvSpPr>
        <p:spPr>
          <a:xfrm>
            <a:off x="598039" y="489917"/>
            <a:ext cx="8109724" cy="2903161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094616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11188" y="1059910"/>
            <a:ext cx="3744788" cy="3536131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716016" y="1059910"/>
            <a:ext cx="3970784" cy="3536131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326883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41" y="1082"/>
          <a:ext cx="144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41" y="1082"/>
                        <a:ext cx="1440" cy="1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auto">
          <a:xfrm>
            <a:off x="11209" y="776056"/>
            <a:ext cx="9144000" cy="372422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1532" tIns="40764" rIns="81532" bIns="40764" numCol="1" rtlCol="0" anchor="ctr" anchorCtr="0" compatLnSpc="1">
            <a:prstTxWarp prst="textNoShape">
              <a:avLst/>
            </a:prstTxWarp>
          </a:bodyPr>
          <a:lstStyle/>
          <a:p>
            <a:pPr defTabSz="363486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en-US" sz="1500">
              <a:solidFill>
                <a:srgbClr val="FFFFFF"/>
              </a:solidFill>
              <a:ea typeface="SimSun" pitchFamily="2" charset="-122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5762" y="171134"/>
            <a:ext cx="8621909" cy="50386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l">
              <a:lnSpc>
                <a:spcPct val="100000"/>
              </a:lnSpc>
              <a:defRPr sz="19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5762" y="1151300"/>
            <a:ext cx="8621909" cy="3185545"/>
          </a:xfrm>
          <a:prstGeom prst="rect">
            <a:avLst/>
          </a:prstGeom>
        </p:spPr>
        <p:txBody>
          <a:bodyPr/>
          <a:lstStyle>
            <a:lvl1pPr marL="150276" indent="-150276" algn="l">
              <a:buFont typeface="Wingdings" pitchFamily="2" charset="2"/>
              <a:buChar char="§"/>
              <a:defRPr sz="1000">
                <a:solidFill>
                  <a:schemeClr val="tx1"/>
                </a:solidFill>
              </a:defRPr>
            </a:lvl1pPr>
            <a:lvl2pPr marL="509908" indent="-139999" algn="l">
              <a:buFont typeface="Wingdings" pitchFamily="2" charset="2"/>
              <a:buChar char="§"/>
              <a:defRPr sz="1000">
                <a:solidFill>
                  <a:schemeClr val="tx1"/>
                </a:solidFill>
              </a:defRPr>
            </a:lvl2pPr>
            <a:lvl3pPr marL="940181" indent="-200365" algn="l">
              <a:buFont typeface="Wingdings" pitchFamily="2" charset="2"/>
              <a:buChar char="§"/>
              <a:defRPr sz="1000">
                <a:solidFill>
                  <a:schemeClr val="tx1"/>
                </a:solidFill>
              </a:defRPr>
            </a:lvl3pPr>
            <a:lvl4pPr algn="l">
              <a:buFont typeface="Wingdings" pitchFamily="2" charset="2"/>
              <a:buChar char="§"/>
              <a:defRPr sz="1000">
                <a:solidFill>
                  <a:schemeClr val="tx1"/>
                </a:solidFill>
              </a:defRPr>
            </a:lvl4pPr>
            <a:lvl5pPr algn="l">
              <a:buFont typeface="Wingdings" pitchFamily="2" charset="2"/>
              <a:buChar char="§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7250052" y="4827460"/>
            <a:ext cx="1044383" cy="273353"/>
          </a:xfrm>
        </p:spPr>
        <p:txBody>
          <a:bodyPr/>
          <a:lstStyle>
            <a:lvl1pPr algn="r">
              <a:defRPr sz="1000" b="1" smtClean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>
              <a:defRPr/>
            </a:pPr>
            <a:fld id="{C91976CA-5F44-41E6-9D8D-1F37A3950364}" type="datetime1">
              <a:rPr lang="en-US">
                <a:solidFill>
                  <a:prstClr val="black">
                    <a:lumMod val="85000"/>
                    <a:lumOff val="15000"/>
                  </a:prstClr>
                </a:solidFill>
              </a:rPr>
              <a:pPr>
                <a:defRPr/>
              </a:pPr>
              <a:t>9/21/2018</a:t>
            </a:fld>
            <a:endParaRPr lang="en-US" dirty="0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828835" y="4827460"/>
            <a:ext cx="5421217" cy="273353"/>
          </a:xfrm>
        </p:spPr>
        <p:txBody>
          <a:bodyPr/>
          <a:lstStyle>
            <a:lvl1pPr marL="150276" indent="-150276" algn="l">
              <a:defRPr sz="600" b="0" dirty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509908" indent="-509908">
              <a:defRPr/>
            </a:pPr>
            <a:r>
              <a:rPr lang="en-US">
                <a:solidFill>
                  <a:prstClr val="black">
                    <a:lumMod val="85000"/>
                    <a:lumOff val="15000"/>
                  </a:prstClr>
                </a:solidFill>
              </a:rPr>
              <a:t>*	Footer</a:t>
            </a:r>
          </a:p>
          <a:p>
            <a:pPr marL="509908" indent="-509908">
              <a:defRPr/>
            </a:pPr>
            <a:r>
              <a:rPr lang="en-US">
                <a:solidFill>
                  <a:prstClr val="black">
                    <a:lumMod val="85000"/>
                    <a:lumOff val="15000"/>
                  </a:prstClr>
                </a:solidFill>
              </a:rPr>
              <a:t>Source:	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25441" y="4827460"/>
            <a:ext cx="588960" cy="273353"/>
          </a:xfrm>
        </p:spPr>
        <p:txBody>
          <a:bodyPr/>
          <a:lstStyle>
            <a:lvl1pPr algn="r">
              <a:defRPr sz="1000" b="1" smtClean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>
              <a:defRPr/>
            </a:pPr>
            <a:fld id="{6129956D-6D5E-40ED-B4C2-BE386F84BC3B}" type="slidenum">
              <a:rPr lang="en-US">
                <a:solidFill>
                  <a:prstClr val="black">
                    <a:lumMod val="85000"/>
                    <a:lumOff val="1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195862" y="857572"/>
            <a:ext cx="8621797" cy="195712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13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add subject title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 bwMode="auto">
          <a:xfrm>
            <a:off x="11209" y="767643"/>
            <a:ext cx="9144000" cy="0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717714466"/>
      </p:ext>
    </p:extLst>
  </p:cSld>
  <p:clrMapOvr>
    <a:masterClrMapping/>
  </p:clrMapOvr>
  <p:transition spd="med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57201" y="1036185"/>
            <a:ext cx="8228012" cy="3619428"/>
          </a:xfrm>
          <a:noFill/>
          <a:ln w="3175">
            <a:noFill/>
          </a:ln>
        </p:spPr>
        <p:txBody>
          <a:bodyPr>
            <a:noAutofit/>
          </a:bodyPr>
          <a:lstStyle>
            <a:lvl1pPr>
              <a:defRPr sz="1400">
                <a:latin typeface="Calibri" pitchFamily="34" charset="0"/>
                <a:cs typeface="Calibri" pitchFamily="34" charset="0"/>
              </a:defRPr>
            </a:lvl1pPr>
            <a:lvl2pPr marL="356826" indent="-179204">
              <a:defRPr sz="1400">
                <a:latin typeface="Calibri" pitchFamily="34" charset="0"/>
                <a:cs typeface="Calibri" pitchFamily="34" charset="0"/>
              </a:defRPr>
            </a:lvl2pPr>
            <a:lvl3pPr marL="534441" indent="-177619">
              <a:defRPr sz="1400">
                <a:latin typeface="Calibri" pitchFamily="34" charset="0"/>
                <a:cs typeface="Calibri" pitchFamily="34" charset="0"/>
              </a:defRPr>
            </a:lvl3pPr>
            <a:lvl4pPr marL="713646" indent="-179204">
              <a:defRPr sz="1400">
                <a:latin typeface="Calibri" pitchFamily="34" charset="0"/>
                <a:cs typeface="Calibri" pitchFamily="34" charset="0"/>
              </a:defRPr>
            </a:lvl4pPr>
            <a:lvl5pPr>
              <a:defRPr sz="1400">
                <a:latin typeface="Calibri" pitchFamily="34" charset="0"/>
                <a:cs typeface="Calibri" pitchFamily="34" charset="0"/>
              </a:defRPr>
            </a:lvl5pPr>
            <a:lvl8pPr marL="3197125" indent="0">
              <a:buNone/>
              <a:defRPr/>
            </a:lvl8pPr>
          </a:lstStyle>
          <a:p>
            <a:pPr lvl="0"/>
            <a:r>
              <a:rPr lang="nb-NO" dirty="0"/>
              <a:t>Text</a:t>
            </a:r>
          </a:p>
          <a:p>
            <a:pPr lvl="1"/>
            <a:r>
              <a:rPr lang="nb-NO" dirty="0"/>
              <a:t>Text</a:t>
            </a:r>
          </a:p>
          <a:p>
            <a:pPr lvl="2"/>
            <a:r>
              <a:rPr lang="nb-NO" dirty="0"/>
              <a:t>Text</a:t>
            </a:r>
          </a:p>
          <a:p>
            <a:pPr lvl="3"/>
            <a:r>
              <a:rPr lang="nb-NO" dirty="0"/>
              <a:t>Tex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7994" y="750326"/>
            <a:ext cx="8686006" cy="0"/>
          </a:xfrm>
          <a:prstGeom prst="line">
            <a:avLst/>
          </a:prstGeom>
          <a:ln w="12700">
            <a:solidFill>
              <a:srgbClr val="E6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000">
                <a:solidFill>
                  <a:srgbClr val="E60000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nb-NO"/>
              <a:t>Master Title Slide Headline</a:t>
            </a:r>
            <a:endParaRPr lang="nb-NO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7497940" y="4923725"/>
            <a:ext cx="536400" cy="18365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 defTabSz="913464"/>
            <a:fld id="{597A8DCA-8F96-49CD-B4D5-7AC92F955860}" type="slidenum">
              <a:rPr lang="nb-NO" sz="900" smtClean="0">
                <a:solidFill>
                  <a:srgbClr val="7F7F7F"/>
                </a:solidFill>
                <a:latin typeface="Calibri" pitchFamily="34" charset="0"/>
                <a:cs typeface="Calibri" pitchFamily="34" charset="0"/>
              </a:rPr>
              <a:pPr algn="r" defTabSz="913464"/>
              <a:t>‹#›</a:t>
            </a:fld>
            <a:endParaRPr lang="nb-NO" sz="900" dirty="0">
              <a:solidFill>
                <a:srgbClr val="7F7F7F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8820" y="750327"/>
            <a:ext cx="8205261" cy="257254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363636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nb-NO"/>
              <a:t>Click to edit Master text styles</a:t>
            </a:r>
            <a:endParaRPr lang="nb-NO" dirty="0"/>
          </a:p>
        </p:txBody>
      </p:sp>
      <p:pic>
        <p:nvPicPr>
          <p:cNvPr id="1026" name="Picture 2" descr="http://ruter.no/Global/ruter_logo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67028" y="4938183"/>
            <a:ext cx="866775" cy="150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457201" y="4923725"/>
            <a:ext cx="7416000" cy="183657"/>
          </a:xfrm>
        </p:spPr>
        <p:txBody>
          <a:bodyPr anchor="b">
            <a:noAutofit/>
          </a:bodyPr>
          <a:lstStyle>
            <a:lvl1pPr marL="0" indent="0">
              <a:buNone/>
              <a:defRPr sz="9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nb-NO"/>
              <a:t>Kilde: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3748536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4" y="1171"/>
            <a:ext cx="9139889" cy="5142775"/>
          </a:xfrm>
          <a:prstGeom prst="rect">
            <a:avLst/>
          </a:prstGeom>
        </p:spPr>
      </p:pic>
      <p:pic>
        <p:nvPicPr>
          <p:cNvPr id="14" name="Bilde 13" descr="Logo-hvit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20088" y="4664266"/>
            <a:ext cx="1159780" cy="222386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Rektangel 9"/>
          <p:cNvSpPr/>
          <p:nvPr userDrawn="1"/>
        </p:nvSpPr>
        <p:spPr>
          <a:xfrm>
            <a:off x="467546" y="843842"/>
            <a:ext cx="8280920" cy="1512634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186" tIns="45588" rIns="91186" bIns="45588" rtlCol="0" anchor="ctr"/>
          <a:lstStyle/>
          <a:p>
            <a:pPr algn="ctr" defTabSz="911848"/>
            <a:endParaRPr lang="nb-NO" sz="1800" dirty="0">
              <a:solidFill>
                <a:srgbClr val="FFFFFF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11560" y="1095951"/>
            <a:ext cx="7772400" cy="612256"/>
          </a:xfrm>
        </p:spPr>
        <p:txBody>
          <a:bodyPr/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1560" y="1708222"/>
            <a:ext cx="7777162" cy="648849"/>
          </a:xfrm>
        </p:spPr>
        <p:txBody>
          <a:bodyPr>
            <a:normAutofit/>
          </a:bodyPr>
          <a:lstStyle>
            <a:lvl1pPr marL="0" indent="0">
              <a:buNone/>
              <a:defRPr sz="1800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nb-NO" dirty="0"/>
              <a:t>Klikk for å legge til sted og dato</a:t>
            </a:r>
            <a:br>
              <a:rPr lang="nb-NO" dirty="0"/>
            </a:br>
            <a:r>
              <a:rPr lang="nb-NO" dirty="0"/>
              <a:t>og fornavn, etternavn og stillingstittel</a:t>
            </a:r>
          </a:p>
        </p:txBody>
      </p:sp>
    </p:spTree>
    <p:extLst>
      <p:ext uri="{BB962C8B-B14F-4D97-AF65-F5344CB8AC3E}">
        <p14:creationId xmlns:p14="http://schemas.microsoft.com/office/powerpoint/2010/main" val="16110337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32760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11188" y="1059910"/>
            <a:ext cx="3744788" cy="3536131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716016" y="1059910"/>
            <a:ext cx="3970784" cy="3536131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642540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11188" y="1059950"/>
            <a:ext cx="3744788" cy="642019"/>
          </a:xfrm>
        </p:spPr>
        <p:txBody>
          <a:bodyPr anchor="t"/>
          <a:lstStyle>
            <a:lvl1pPr marL="0" indent="0">
              <a:buNone/>
              <a:defRPr sz="2400" b="1"/>
            </a:lvl1pPr>
            <a:lvl2pPr marL="455921" indent="0">
              <a:buNone/>
              <a:defRPr sz="2000" b="1"/>
            </a:lvl2pPr>
            <a:lvl3pPr marL="911848" indent="0">
              <a:buNone/>
              <a:defRPr sz="1800" b="1"/>
            </a:lvl3pPr>
            <a:lvl4pPr marL="1367773" indent="0">
              <a:buNone/>
              <a:defRPr sz="1600" b="1"/>
            </a:lvl4pPr>
            <a:lvl5pPr marL="1823699" indent="0">
              <a:buNone/>
              <a:defRPr sz="1600" b="1"/>
            </a:lvl5pPr>
            <a:lvl6pPr marL="2279621" indent="0">
              <a:buNone/>
              <a:defRPr sz="1600" b="1"/>
            </a:lvl6pPr>
            <a:lvl7pPr marL="2735548" indent="0">
              <a:buNone/>
              <a:defRPr sz="1600" b="1"/>
            </a:lvl7pPr>
            <a:lvl8pPr marL="3191469" indent="0">
              <a:buNone/>
              <a:defRPr sz="1600" b="1"/>
            </a:lvl8pPr>
            <a:lvl9pPr marL="3647395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1188" y="1708182"/>
            <a:ext cx="3744788" cy="288785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716058" y="1059909"/>
            <a:ext cx="4032697" cy="64827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921" indent="0">
              <a:buNone/>
              <a:defRPr sz="2000" b="1"/>
            </a:lvl2pPr>
            <a:lvl3pPr marL="911848" indent="0">
              <a:buNone/>
              <a:defRPr sz="1800" b="1"/>
            </a:lvl3pPr>
            <a:lvl4pPr marL="1367773" indent="0">
              <a:buNone/>
              <a:defRPr sz="1600" b="1"/>
            </a:lvl4pPr>
            <a:lvl5pPr marL="1823699" indent="0">
              <a:buNone/>
              <a:defRPr sz="1600" b="1"/>
            </a:lvl5pPr>
            <a:lvl6pPr marL="2279621" indent="0">
              <a:buNone/>
              <a:defRPr sz="1600" b="1"/>
            </a:lvl6pPr>
            <a:lvl7pPr marL="2735548" indent="0">
              <a:buNone/>
              <a:defRPr sz="1600" b="1"/>
            </a:lvl7pPr>
            <a:lvl8pPr marL="3191469" indent="0">
              <a:buNone/>
              <a:defRPr sz="1600" b="1"/>
            </a:lvl8pPr>
            <a:lvl9pPr marL="3647395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716016" y="1631671"/>
            <a:ext cx="3970784" cy="296438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>
          <a:xfrm>
            <a:off x="1115616" y="4680115"/>
            <a:ext cx="1008112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fld id="{1271001A-1168-4379-A9E9-3CB9A38965DA}" type="datetime1">
              <a:rPr lang="en-US" sz="1800" smtClean="0">
                <a:solidFill>
                  <a:srgbClr val="32374B"/>
                </a:solidFill>
              </a:rPr>
              <a:pPr defTabSz="911949"/>
              <a:t>9/21/2018</a:t>
            </a:fld>
            <a:endParaRPr lang="en-US" sz="1800" dirty="0">
              <a:solidFill>
                <a:srgbClr val="32374B"/>
              </a:solidFill>
            </a:endParaRPr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>
          <a:xfrm>
            <a:off x="2195736" y="4680115"/>
            <a:ext cx="5184576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endParaRPr lang="en-US" sz="1800">
              <a:solidFill>
                <a:srgbClr val="32374B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>
          <a:xfrm>
            <a:off x="611188" y="4679428"/>
            <a:ext cx="405408" cy="216091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fld id="{7B785221-A51B-4371-B866-038075B34EEB}" type="slidenum">
              <a:rPr lang="nb-NO" sz="1800" smtClean="0">
                <a:solidFill>
                  <a:srgbClr val="32374B"/>
                </a:solidFill>
              </a:rPr>
              <a:pPr defTabSz="911949"/>
              <a:t>‹#›</a:t>
            </a:fld>
            <a:endParaRPr lang="nb-NO" sz="1800" dirty="0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9224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ødtekst med pun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11227" y="1059909"/>
            <a:ext cx="8137525" cy="1458612"/>
          </a:xfrm>
        </p:spPr>
        <p:txBody>
          <a:bodyPr tIns="71798" anchor="t">
            <a:normAutofit/>
          </a:bodyPr>
          <a:lstStyle>
            <a:lvl1pPr marL="0" indent="0">
              <a:buNone/>
              <a:defRPr sz="2400" b="0"/>
            </a:lvl1pPr>
            <a:lvl2pPr marL="455921" indent="0">
              <a:buNone/>
              <a:defRPr sz="2000" b="1"/>
            </a:lvl2pPr>
            <a:lvl3pPr marL="911848" indent="0">
              <a:buNone/>
              <a:defRPr sz="1800" b="1"/>
            </a:lvl3pPr>
            <a:lvl4pPr marL="1367773" indent="0">
              <a:buNone/>
              <a:defRPr sz="1600" b="1"/>
            </a:lvl4pPr>
            <a:lvl5pPr marL="1823699" indent="0">
              <a:buNone/>
              <a:defRPr sz="1600" b="1"/>
            </a:lvl5pPr>
            <a:lvl6pPr marL="2279621" indent="0">
              <a:buNone/>
              <a:defRPr sz="1600" b="1"/>
            </a:lvl6pPr>
            <a:lvl7pPr marL="2735548" indent="0">
              <a:buNone/>
              <a:defRPr sz="1600" b="1"/>
            </a:lvl7pPr>
            <a:lvl8pPr marL="3191469" indent="0">
              <a:buNone/>
              <a:defRPr sz="1600" b="1"/>
            </a:lvl8pPr>
            <a:lvl9pPr marL="3647395" indent="0">
              <a:buNone/>
              <a:defRPr sz="1600" b="1"/>
            </a:lvl9pPr>
          </a:lstStyle>
          <a:p>
            <a:pPr lvl="0"/>
            <a:r>
              <a:rPr lang="nb-NO" dirty="0"/>
              <a:t>Klikk for å skrive brødtekst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1227" y="2572557"/>
            <a:ext cx="8137525" cy="2023497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>
          <a:xfrm>
            <a:off x="1115616" y="4680115"/>
            <a:ext cx="1008112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fld id="{EB0F282A-FEB3-45AE-AF75-CA9FCE549D64}" type="datetime1">
              <a:rPr lang="en-US" sz="1800" smtClean="0">
                <a:solidFill>
                  <a:srgbClr val="32374B"/>
                </a:solidFill>
              </a:rPr>
              <a:pPr defTabSz="911949"/>
              <a:t>9/21/2018</a:t>
            </a:fld>
            <a:endParaRPr lang="en-US" sz="1800" dirty="0">
              <a:solidFill>
                <a:srgbClr val="32374B"/>
              </a:solidFill>
            </a:endParaRPr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>
          <a:xfrm>
            <a:off x="2195736" y="4680115"/>
            <a:ext cx="5184576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endParaRPr lang="en-US" sz="1800">
              <a:solidFill>
                <a:srgbClr val="32374B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>
          <a:xfrm>
            <a:off x="611188" y="4679428"/>
            <a:ext cx="405408" cy="216091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fld id="{7B785221-A51B-4371-B866-038075B34EEB}" type="slidenum">
              <a:rPr lang="nb-NO" sz="1800" smtClean="0">
                <a:solidFill>
                  <a:srgbClr val="32374B"/>
                </a:solidFill>
              </a:rPr>
              <a:pPr defTabSz="911949"/>
              <a:t>‹#›</a:t>
            </a:fld>
            <a:endParaRPr lang="nb-NO" sz="1800" dirty="0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2241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>
          <a:xfrm>
            <a:off x="1115616" y="4680115"/>
            <a:ext cx="1008112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fld id="{200BDAEF-5C9A-42C5-B390-141539CEE15C}" type="datetime1">
              <a:rPr lang="en-US" sz="1800" smtClean="0">
                <a:solidFill>
                  <a:srgbClr val="32374B"/>
                </a:solidFill>
              </a:rPr>
              <a:pPr defTabSz="911949"/>
              <a:t>9/21/2018</a:t>
            </a:fld>
            <a:endParaRPr lang="en-US" sz="1800" dirty="0">
              <a:solidFill>
                <a:srgbClr val="32374B"/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xfrm>
            <a:off x="2195736" y="4680115"/>
            <a:ext cx="5184576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endParaRPr lang="en-US" sz="1800">
              <a:solidFill>
                <a:srgbClr val="32374B"/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>
          <a:xfrm>
            <a:off x="611188" y="4679428"/>
            <a:ext cx="405408" cy="216091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fld id="{7B785221-A51B-4371-B866-038075B34EEB}" type="slidenum">
              <a:rPr lang="nb-NO" sz="1800" smtClean="0">
                <a:solidFill>
                  <a:srgbClr val="32374B"/>
                </a:solidFill>
              </a:rPr>
              <a:pPr defTabSz="911949"/>
              <a:t>‹#›</a:t>
            </a:fld>
            <a:endParaRPr lang="nb-NO" sz="1800" dirty="0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2339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1115616" y="4680115"/>
            <a:ext cx="1008112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fld id="{16D8101E-77DB-4D5D-BE45-8CBCEE45251A}" type="datetime1">
              <a:rPr lang="en-US" sz="1800" smtClean="0">
                <a:solidFill>
                  <a:srgbClr val="32374B"/>
                </a:solidFill>
              </a:rPr>
              <a:pPr defTabSz="911949"/>
              <a:t>9/21/2018</a:t>
            </a:fld>
            <a:endParaRPr lang="en-US" sz="1800" dirty="0">
              <a:solidFill>
                <a:srgbClr val="32374B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>
          <a:xfrm>
            <a:off x="2195736" y="4680115"/>
            <a:ext cx="5184576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endParaRPr lang="en-US" sz="1800">
              <a:solidFill>
                <a:srgbClr val="32374B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>
          <a:xfrm>
            <a:off x="611188" y="4679428"/>
            <a:ext cx="405408" cy="216091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fld id="{7B785221-A51B-4371-B866-038075B34EEB}" type="slidenum">
              <a:rPr lang="nb-NO" sz="1800" smtClean="0">
                <a:solidFill>
                  <a:srgbClr val="32374B"/>
                </a:solidFill>
              </a:rPr>
              <a:pPr defTabSz="911949"/>
              <a:t>‹#›</a:t>
            </a:fld>
            <a:endParaRPr lang="nb-NO" sz="1800" dirty="0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7957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vadratisk bilde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714108" y="1221958"/>
            <a:ext cx="3651420" cy="2727842"/>
          </a:xfrm>
        </p:spPr>
        <p:txBody>
          <a:bodyPr/>
          <a:lstStyle>
            <a:lvl1pPr marL="0" indent="0">
              <a:buNone/>
              <a:defRPr sz="3200"/>
            </a:lvl1pPr>
            <a:lvl2pPr marL="455921" indent="0">
              <a:buNone/>
              <a:defRPr sz="2800"/>
            </a:lvl2pPr>
            <a:lvl3pPr marL="911848" indent="0">
              <a:buNone/>
              <a:defRPr sz="2400"/>
            </a:lvl3pPr>
            <a:lvl4pPr marL="1367773" indent="0">
              <a:buNone/>
              <a:defRPr sz="2000"/>
            </a:lvl4pPr>
            <a:lvl5pPr marL="1823699" indent="0">
              <a:buNone/>
              <a:defRPr sz="2000"/>
            </a:lvl5pPr>
            <a:lvl6pPr marL="2279621" indent="0">
              <a:buNone/>
              <a:defRPr sz="2000"/>
            </a:lvl6pPr>
            <a:lvl7pPr marL="2735548" indent="0">
              <a:buNone/>
              <a:defRPr sz="2000"/>
            </a:lvl7pPr>
            <a:lvl8pPr marL="3191469" indent="0">
              <a:buNone/>
              <a:defRPr sz="2000"/>
            </a:lvl8pPr>
            <a:lvl9pPr marL="3647395" indent="0">
              <a:buNone/>
              <a:defRPr sz="2000"/>
            </a:lvl9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1115616" y="4680115"/>
            <a:ext cx="1008112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fld id="{3B3796D8-1575-4461-AA64-5B9832273320}" type="datetime1">
              <a:rPr lang="en-US" sz="1800" smtClean="0">
                <a:solidFill>
                  <a:srgbClr val="32374B"/>
                </a:solidFill>
              </a:rPr>
              <a:pPr defTabSz="911949"/>
              <a:t>9/21/2018</a:t>
            </a:fld>
            <a:endParaRPr lang="en-US" sz="1800" dirty="0">
              <a:solidFill>
                <a:srgbClr val="32374B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2195736" y="4680115"/>
            <a:ext cx="5184576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endParaRPr lang="en-US" sz="1800">
              <a:solidFill>
                <a:srgbClr val="32374B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611188" y="4679428"/>
            <a:ext cx="405408" cy="216091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fld id="{7B785221-A51B-4371-B866-038075B34EEB}" type="slidenum">
              <a:rPr lang="nb-NO" sz="1800" smtClean="0">
                <a:solidFill>
                  <a:srgbClr val="32374B"/>
                </a:solidFill>
              </a:rPr>
              <a:pPr defTabSz="911949"/>
              <a:t>‹#›</a:t>
            </a:fld>
            <a:endParaRPr lang="nb-NO" sz="1800" dirty="0">
              <a:solidFill>
                <a:srgbClr val="32374B"/>
              </a:solidFill>
            </a:endParaRPr>
          </a:p>
        </p:txBody>
      </p:sp>
      <p:sp>
        <p:nvSpPr>
          <p:cNvPr id="9" name="Plassholder for innhold 3"/>
          <p:cNvSpPr>
            <a:spLocks noGrp="1"/>
          </p:cNvSpPr>
          <p:nvPr>
            <p:ph sz="half" idx="2"/>
          </p:nvPr>
        </p:nvSpPr>
        <p:spPr>
          <a:xfrm>
            <a:off x="4716016" y="1059910"/>
            <a:ext cx="3970784" cy="2917224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Tittel 1"/>
          <p:cNvSpPr>
            <a:spLocks noGrp="1"/>
          </p:cNvSpPr>
          <p:nvPr>
            <p:ph type="title"/>
          </p:nvPr>
        </p:nvSpPr>
        <p:spPr>
          <a:xfrm>
            <a:off x="611560" y="465672"/>
            <a:ext cx="8075240" cy="539967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735122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11188" y="1059951"/>
            <a:ext cx="3744788" cy="642019"/>
          </a:xfrm>
        </p:spPr>
        <p:txBody>
          <a:bodyPr anchor="t"/>
          <a:lstStyle>
            <a:lvl1pPr marL="0" indent="0">
              <a:buNone/>
              <a:defRPr sz="1800" b="1"/>
            </a:lvl1pPr>
            <a:lvl2pPr marL="341941" indent="0">
              <a:buNone/>
              <a:defRPr sz="1500" b="1"/>
            </a:lvl2pPr>
            <a:lvl3pPr marL="683886" indent="0">
              <a:buNone/>
              <a:defRPr sz="1350" b="1"/>
            </a:lvl3pPr>
            <a:lvl4pPr marL="1025830" indent="0">
              <a:buNone/>
              <a:defRPr sz="1200" b="1"/>
            </a:lvl4pPr>
            <a:lvl5pPr marL="1367774" indent="0">
              <a:buNone/>
              <a:defRPr sz="1200" b="1"/>
            </a:lvl5pPr>
            <a:lvl6pPr marL="1709716" indent="0">
              <a:buNone/>
              <a:defRPr sz="1200" b="1"/>
            </a:lvl6pPr>
            <a:lvl7pPr marL="2051661" indent="0">
              <a:buNone/>
              <a:defRPr sz="1200" b="1"/>
            </a:lvl7pPr>
            <a:lvl8pPr marL="2393602" indent="0">
              <a:buNone/>
              <a:defRPr sz="1200" b="1"/>
            </a:lvl8pPr>
            <a:lvl9pPr marL="2735546" indent="0">
              <a:buNone/>
              <a:defRPr sz="1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1188" y="1708182"/>
            <a:ext cx="3744788" cy="2887859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716060" y="1059909"/>
            <a:ext cx="4032697" cy="64827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1941" indent="0">
              <a:buNone/>
              <a:defRPr sz="1500" b="1"/>
            </a:lvl2pPr>
            <a:lvl3pPr marL="683886" indent="0">
              <a:buNone/>
              <a:defRPr sz="1350" b="1"/>
            </a:lvl3pPr>
            <a:lvl4pPr marL="1025830" indent="0">
              <a:buNone/>
              <a:defRPr sz="1200" b="1"/>
            </a:lvl4pPr>
            <a:lvl5pPr marL="1367774" indent="0">
              <a:buNone/>
              <a:defRPr sz="1200" b="1"/>
            </a:lvl5pPr>
            <a:lvl6pPr marL="1709716" indent="0">
              <a:buNone/>
              <a:defRPr sz="1200" b="1"/>
            </a:lvl6pPr>
            <a:lvl7pPr marL="2051661" indent="0">
              <a:buNone/>
              <a:defRPr sz="1200" b="1"/>
            </a:lvl7pPr>
            <a:lvl8pPr marL="2393602" indent="0">
              <a:buNone/>
              <a:defRPr sz="1200" b="1"/>
            </a:lvl8pPr>
            <a:lvl9pPr marL="2735546" indent="0">
              <a:buNone/>
              <a:defRPr sz="12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716016" y="1631671"/>
            <a:ext cx="3970784" cy="2964381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>
          <a:xfrm>
            <a:off x="1115616" y="4680115"/>
            <a:ext cx="1008112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683962"/>
            <a:fld id="{1271001A-1168-4379-A9E9-3CB9A38965DA}" type="datetime1">
              <a:rPr lang="en-US" sz="1800" smtClean="0">
                <a:solidFill>
                  <a:srgbClr val="32374B"/>
                </a:solidFill>
              </a:rPr>
              <a:pPr defTabSz="683962"/>
              <a:t>9/21/2018</a:t>
            </a:fld>
            <a:endParaRPr lang="en-US" sz="1800" dirty="0">
              <a:solidFill>
                <a:srgbClr val="32374B"/>
              </a:solidFill>
            </a:endParaRPr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>
          <a:xfrm>
            <a:off x="2195736" y="4680115"/>
            <a:ext cx="5184576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683962"/>
            <a:endParaRPr lang="en-US" sz="1800">
              <a:solidFill>
                <a:srgbClr val="32374B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>
          <a:xfrm>
            <a:off x="611188" y="4679428"/>
            <a:ext cx="405408" cy="216091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683962"/>
            <a:fld id="{7B785221-A51B-4371-B866-038075B34EEB}" type="slidenum">
              <a:rPr lang="nb-NO" sz="1800" smtClean="0">
                <a:solidFill>
                  <a:srgbClr val="32374B"/>
                </a:solidFill>
              </a:rPr>
              <a:pPr defTabSz="683962"/>
              <a:t>‹#›</a:t>
            </a:fld>
            <a:endParaRPr lang="nb-NO" sz="1800" dirty="0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0687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norama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714109" y="1221958"/>
            <a:ext cx="8034610" cy="2727842"/>
          </a:xfrm>
        </p:spPr>
        <p:txBody>
          <a:bodyPr/>
          <a:lstStyle>
            <a:lvl1pPr marL="0" indent="0">
              <a:buNone/>
              <a:defRPr sz="3200"/>
            </a:lvl1pPr>
            <a:lvl2pPr marL="455921" indent="0">
              <a:buNone/>
              <a:defRPr sz="2800"/>
            </a:lvl2pPr>
            <a:lvl3pPr marL="911848" indent="0">
              <a:buNone/>
              <a:defRPr sz="2400"/>
            </a:lvl3pPr>
            <a:lvl4pPr marL="1367773" indent="0">
              <a:buNone/>
              <a:defRPr sz="2000"/>
            </a:lvl4pPr>
            <a:lvl5pPr marL="1823699" indent="0">
              <a:buNone/>
              <a:defRPr sz="2000"/>
            </a:lvl5pPr>
            <a:lvl6pPr marL="2279621" indent="0">
              <a:buNone/>
              <a:defRPr sz="2000"/>
            </a:lvl6pPr>
            <a:lvl7pPr marL="2735548" indent="0">
              <a:buNone/>
              <a:defRPr sz="2000"/>
            </a:lvl7pPr>
            <a:lvl8pPr marL="3191469" indent="0">
              <a:buNone/>
              <a:defRPr sz="2000"/>
            </a:lvl8pPr>
            <a:lvl9pPr marL="3647395" indent="0">
              <a:buNone/>
              <a:defRPr sz="2000"/>
            </a:lvl9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1115616" y="4680115"/>
            <a:ext cx="1008112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fld id="{2AE30DE7-ED98-4A20-99FF-288CEE9FD113}" type="datetime1">
              <a:rPr lang="en-US" sz="1800" smtClean="0">
                <a:solidFill>
                  <a:srgbClr val="32374B"/>
                </a:solidFill>
              </a:rPr>
              <a:pPr defTabSz="911949"/>
              <a:t>9/21/2018</a:t>
            </a:fld>
            <a:endParaRPr lang="en-US" sz="1800" dirty="0">
              <a:solidFill>
                <a:srgbClr val="32374B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2195736" y="4680115"/>
            <a:ext cx="5184576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endParaRPr lang="en-US" sz="1800">
              <a:solidFill>
                <a:srgbClr val="32374B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611188" y="4679428"/>
            <a:ext cx="405408" cy="216091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fld id="{7B785221-A51B-4371-B866-038075B34EEB}" type="slidenum">
              <a:rPr lang="nb-NO" sz="1800" smtClean="0">
                <a:solidFill>
                  <a:srgbClr val="32374B"/>
                </a:solidFill>
              </a:rPr>
              <a:pPr defTabSz="911949"/>
              <a:t>‹#›</a:t>
            </a:fld>
            <a:endParaRPr lang="nb-NO" sz="1800" dirty="0">
              <a:solidFill>
                <a:srgbClr val="32374B"/>
              </a:solidFill>
            </a:endParaRPr>
          </a:p>
        </p:txBody>
      </p:sp>
      <p:sp>
        <p:nvSpPr>
          <p:cNvPr id="10" name="Tittel 1"/>
          <p:cNvSpPr>
            <a:spLocks noGrp="1"/>
          </p:cNvSpPr>
          <p:nvPr>
            <p:ph type="title"/>
          </p:nvPr>
        </p:nvSpPr>
        <p:spPr>
          <a:xfrm>
            <a:off x="611560" y="465672"/>
            <a:ext cx="8075240" cy="539967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741732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115616" y="4680115"/>
            <a:ext cx="1008112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fld id="{0BDF233E-DDA0-4538-9DCE-B99A5F957B8E}" type="datetime1">
              <a:rPr lang="en-US" sz="1800" smtClean="0">
                <a:solidFill>
                  <a:srgbClr val="32374B"/>
                </a:solidFill>
              </a:rPr>
              <a:pPr defTabSz="911949"/>
              <a:t>9/21/2018</a:t>
            </a:fld>
            <a:endParaRPr lang="en-US" sz="1800" dirty="0">
              <a:solidFill>
                <a:srgbClr val="32374B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2195736" y="4680115"/>
            <a:ext cx="5184576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endParaRPr lang="en-US" sz="1800">
              <a:solidFill>
                <a:srgbClr val="32374B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611188" y="4679428"/>
            <a:ext cx="405408" cy="216091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fld id="{7B785221-A51B-4371-B866-038075B34EEB}" type="slidenum">
              <a:rPr lang="nb-NO" sz="1800" smtClean="0">
                <a:solidFill>
                  <a:srgbClr val="32374B"/>
                </a:solidFill>
              </a:rPr>
              <a:pPr defTabSz="911949"/>
              <a:t>‹#›</a:t>
            </a:fld>
            <a:endParaRPr lang="nb-NO" sz="1800" dirty="0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4982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629400" y="206056"/>
            <a:ext cx="2057400" cy="4389999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57200" y="206056"/>
            <a:ext cx="6019800" cy="4389999"/>
          </a:xfr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115616" y="4680115"/>
            <a:ext cx="1008112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fld id="{178DBDD6-5189-4D96-8CF2-078B16485B13}" type="datetime1">
              <a:rPr lang="en-US" sz="1800" smtClean="0">
                <a:solidFill>
                  <a:srgbClr val="32374B"/>
                </a:solidFill>
              </a:rPr>
              <a:pPr defTabSz="911949"/>
              <a:t>9/21/2018</a:t>
            </a:fld>
            <a:endParaRPr lang="en-US" sz="1800" dirty="0">
              <a:solidFill>
                <a:srgbClr val="32374B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2195736" y="4680115"/>
            <a:ext cx="5184576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endParaRPr lang="en-US" sz="1800">
              <a:solidFill>
                <a:srgbClr val="32374B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611188" y="4679428"/>
            <a:ext cx="405408" cy="216091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911949"/>
            <a:fld id="{7B785221-A51B-4371-B866-038075B34EEB}" type="slidenum">
              <a:rPr lang="nb-NO" sz="1800" smtClean="0">
                <a:solidFill>
                  <a:srgbClr val="32374B"/>
                </a:solidFill>
              </a:rPr>
              <a:pPr defTabSz="911949"/>
              <a:t>‹#›</a:t>
            </a:fld>
            <a:endParaRPr lang="nb-NO" sz="1800" dirty="0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1004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dekkende bilde med hvit log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1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5088"/>
          </a:xfrm>
        </p:spPr>
        <p:txBody>
          <a:bodyPr>
            <a:normAutofit/>
          </a:bodyPr>
          <a:lstStyle>
            <a:lvl1pPr>
              <a:defRPr sz="2000" baseline="0">
                <a:solidFill>
                  <a:schemeClr val="bg1"/>
                </a:solidFill>
              </a:defRPr>
            </a:lvl1pPr>
          </a:lstStyle>
          <a:p>
            <a:r>
              <a:rPr lang="nb-NO" dirty="0">
                <a:solidFill>
                  <a:schemeClr val="bg1"/>
                </a:solidFill>
              </a:rPr>
              <a:t>Trykk på knappen midt i lysbildet for å sette inn heldekkende bilde</a:t>
            </a:r>
            <a:endParaRPr lang="nb-NO" dirty="0"/>
          </a:p>
        </p:txBody>
      </p:sp>
      <p:sp>
        <p:nvSpPr>
          <p:cNvPr id="21" name="Plassholder for tekst 20"/>
          <p:cNvSpPr>
            <a:spLocks noGrp="1"/>
          </p:cNvSpPr>
          <p:nvPr>
            <p:ph type="body" sz="quarter" idx="11" hasCustomPrompt="1"/>
          </p:nvPr>
        </p:nvSpPr>
        <p:spPr>
          <a:xfrm>
            <a:off x="7624843" y="4656258"/>
            <a:ext cx="1171709" cy="22802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nb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70274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dekkende bilde med sort log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1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5088"/>
          </a:xfrm>
        </p:spPr>
        <p:txBody>
          <a:bodyPr>
            <a:normAutofit/>
          </a:bodyPr>
          <a:lstStyle>
            <a:lvl1pPr>
              <a:defRPr sz="2000" baseline="0">
                <a:solidFill>
                  <a:schemeClr val="tx1"/>
                </a:solidFill>
              </a:defRPr>
            </a:lvl1pPr>
          </a:lstStyle>
          <a:p>
            <a:r>
              <a:rPr lang="nb-NO" dirty="0">
                <a:solidFill>
                  <a:schemeClr val="bg1"/>
                </a:solidFill>
              </a:rPr>
              <a:t>Trykk på knappen midt i lysbildet for å sette inn heldekkende bilde</a:t>
            </a:r>
            <a:br>
              <a:rPr lang="nb-NO" dirty="0">
                <a:solidFill>
                  <a:schemeClr val="bg1"/>
                </a:solidFill>
              </a:rPr>
            </a:br>
            <a:endParaRPr lang="nb-NO" dirty="0"/>
          </a:p>
        </p:txBody>
      </p:sp>
      <p:sp>
        <p:nvSpPr>
          <p:cNvPr id="4" name="Plassholder for tekst 20"/>
          <p:cNvSpPr>
            <a:spLocks noGrp="1"/>
          </p:cNvSpPr>
          <p:nvPr>
            <p:ph type="body" sz="quarter" idx="12" hasCustomPrompt="1"/>
          </p:nvPr>
        </p:nvSpPr>
        <p:spPr>
          <a:xfrm>
            <a:off x="7624843" y="4656258"/>
            <a:ext cx="1171709" cy="228025"/>
          </a:xfr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nb-NO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47967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nimert symbo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e 17"/>
          <p:cNvGrpSpPr/>
          <p:nvPr userDrawn="1"/>
        </p:nvGrpSpPr>
        <p:grpSpPr>
          <a:xfrm>
            <a:off x="3193055" y="1871271"/>
            <a:ext cx="2967304" cy="411955"/>
            <a:chOff x="2224198" y="2564904"/>
            <a:chExt cx="4148002" cy="648072"/>
          </a:xfrm>
          <a:solidFill>
            <a:srgbClr val="FFFFFF"/>
          </a:solidFill>
        </p:grpSpPr>
        <p:sp>
          <p:nvSpPr>
            <p:cNvPr id="3" name="Trapes 2"/>
            <p:cNvSpPr/>
            <p:nvPr/>
          </p:nvSpPr>
          <p:spPr>
            <a:xfrm>
              <a:off x="2224198" y="2564904"/>
              <a:ext cx="2121379" cy="648072"/>
            </a:xfrm>
            <a:prstGeom prst="trapezoid">
              <a:avLst>
                <a:gd name="adj" fmla="val 19625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1848">
                <a:defRPr/>
              </a:pPr>
              <a:endParaRPr lang="nb-NO" sz="1800" dirty="0">
                <a:solidFill>
                  <a:srgbClr val="FFFFFF"/>
                </a:solidFill>
              </a:endParaRPr>
            </a:p>
          </p:txBody>
        </p:sp>
        <p:sp>
          <p:nvSpPr>
            <p:cNvPr id="4" name="Trapes 3"/>
            <p:cNvSpPr/>
            <p:nvPr/>
          </p:nvSpPr>
          <p:spPr>
            <a:xfrm rot="10800000">
              <a:off x="4211960" y="2564904"/>
              <a:ext cx="2160240" cy="648072"/>
            </a:xfrm>
            <a:prstGeom prst="trapezoid">
              <a:avLst>
                <a:gd name="adj" fmla="val 19625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1848">
                <a:defRPr/>
              </a:pPr>
              <a:endParaRPr lang="nb-NO" sz="18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5" name="Gruppe 21"/>
          <p:cNvGrpSpPr/>
          <p:nvPr userDrawn="1"/>
        </p:nvGrpSpPr>
        <p:grpSpPr>
          <a:xfrm>
            <a:off x="2990626" y="2883695"/>
            <a:ext cx="2967304" cy="404973"/>
            <a:chOff x="2224198" y="2564904"/>
            <a:chExt cx="4148002" cy="648072"/>
          </a:xfrm>
          <a:solidFill>
            <a:srgbClr val="FFFFFF"/>
          </a:solidFill>
        </p:grpSpPr>
        <p:sp>
          <p:nvSpPr>
            <p:cNvPr id="6" name="Trapes 5"/>
            <p:cNvSpPr/>
            <p:nvPr/>
          </p:nvSpPr>
          <p:spPr>
            <a:xfrm>
              <a:off x="2224198" y="2564904"/>
              <a:ext cx="2121379" cy="648072"/>
            </a:xfrm>
            <a:prstGeom prst="trapezoid">
              <a:avLst>
                <a:gd name="adj" fmla="val 19625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1848">
                <a:defRPr/>
              </a:pPr>
              <a:endParaRPr lang="nb-NO" sz="1800" dirty="0">
                <a:solidFill>
                  <a:srgbClr val="FFFFFF"/>
                </a:solidFill>
              </a:endParaRPr>
            </a:p>
          </p:txBody>
        </p:sp>
        <p:sp>
          <p:nvSpPr>
            <p:cNvPr id="7" name="Trapes 6"/>
            <p:cNvSpPr/>
            <p:nvPr/>
          </p:nvSpPr>
          <p:spPr>
            <a:xfrm rot="10800000">
              <a:off x="4211960" y="2564904"/>
              <a:ext cx="2160240" cy="648072"/>
            </a:xfrm>
            <a:prstGeom prst="trapezoid">
              <a:avLst>
                <a:gd name="adj" fmla="val 19625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1848">
                <a:defRPr/>
              </a:pPr>
              <a:endParaRPr lang="nb-NO" sz="18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8" name="Gruppe 24"/>
          <p:cNvGrpSpPr/>
          <p:nvPr userDrawn="1"/>
        </p:nvGrpSpPr>
        <p:grpSpPr>
          <a:xfrm rot="6060610" flipH="1">
            <a:off x="2658581" y="2345126"/>
            <a:ext cx="2745389" cy="463770"/>
            <a:chOff x="2224198" y="2564904"/>
            <a:chExt cx="4148002" cy="648072"/>
          </a:xfrm>
          <a:solidFill>
            <a:srgbClr val="FFFFFF"/>
          </a:solidFill>
        </p:grpSpPr>
        <p:sp>
          <p:nvSpPr>
            <p:cNvPr id="9" name="Trapes 8"/>
            <p:cNvSpPr/>
            <p:nvPr/>
          </p:nvSpPr>
          <p:spPr>
            <a:xfrm>
              <a:off x="2224198" y="2564904"/>
              <a:ext cx="2121379" cy="648072"/>
            </a:xfrm>
            <a:prstGeom prst="trapezoid">
              <a:avLst>
                <a:gd name="adj" fmla="val 19625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1848">
                <a:defRPr/>
              </a:pPr>
              <a:endParaRPr lang="nb-NO" sz="1800" dirty="0">
                <a:solidFill>
                  <a:srgbClr val="FFFFFF"/>
                </a:solidFill>
              </a:endParaRPr>
            </a:p>
          </p:txBody>
        </p:sp>
        <p:sp>
          <p:nvSpPr>
            <p:cNvPr id="10" name="Trapes 9"/>
            <p:cNvSpPr/>
            <p:nvPr/>
          </p:nvSpPr>
          <p:spPr>
            <a:xfrm rot="10800000">
              <a:off x="4211960" y="2564904"/>
              <a:ext cx="2160240" cy="648072"/>
            </a:xfrm>
            <a:prstGeom prst="trapezoid">
              <a:avLst>
                <a:gd name="adj" fmla="val 19625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1848">
                <a:defRPr/>
              </a:pPr>
              <a:endParaRPr lang="nb-NO" sz="18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1" name="Gruppe 27"/>
          <p:cNvGrpSpPr/>
          <p:nvPr userDrawn="1"/>
        </p:nvGrpSpPr>
        <p:grpSpPr>
          <a:xfrm rot="6060610" flipH="1">
            <a:off x="3775155" y="2343781"/>
            <a:ext cx="2744612" cy="463770"/>
            <a:chOff x="2224198" y="2564904"/>
            <a:chExt cx="4148002" cy="648072"/>
          </a:xfrm>
          <a:solidFill>
            <a:srgbClr val="FFFFFF"/>
          </a:solidFill>
        </p:grpSpPr>
        <p:sp>
          <p:nvSpPr>
            <p:cNvPr id="12" name="Trapes 11"/>
            <p:cNvSpPr/>
            <p:nvPr/>
          </p:nvSpPr>
          <p:spPr>
            <a:xfrm>
              <a:off x="2224198" y="2564904"/>
              <a:ext cx="2121379" cy="648072"/>
            </a:xfrm>
            <a:prstGeom prst="trapezoid">
              <a:avLst>
                <a:gd name="adj" fmla="val 19625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1848">
                <a:defRPr/>
              </a:pPr>
              <a:endParaRPr lang="nb-NO" sz="1800" dirty="0">
                <a:solidFill>
                  <a:srgbClr val="FFFFFF"/>
                </a:solidFill>
              </a:endParaRPr>
            </a:p>
          </p:txBody>
        </p:sp>
        <p:sp>
          <p:nvSpPr>
            <p:cNvPr id="13" name="Trapes 12"/>
            <p:cNvSpPr/>
            <p:nvPr/>
          </p:nvSpPr>
          <p:spPr>
            <a:xfrm rot="10800000">
              <a:off x="4211960" y="2564904"/>
              <a:ext cx="2160240" cy="648072"/>
            </a:xfrm>
            <a:prstGeom prst="trapezoid">
              <a:avLst>
                <a:gd name="adj" fmla="val 19625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1848">
                <a:defRPr/>
              </a:pPr>
              <a:endParaRPr lang="nb-NO" sz="1800" dirty="0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07373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9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-7.51793E-7 L -0.04757 0.28846 " pathEditMode="relative" rAng="0" ptsTypes="AA">
                                      <p:cBhvr>
                                        <p:cTn id="18" dur="1000" spd="-100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400" y="14400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49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22222E-6 3.80523E-6 L -0.29028 -0.00232 " pathEditMode="relative" rAng="0" ptsTypes="AA">
                                      <p:cBhvr>
                                        <p:cTn id="20" dur="1000" spd="-100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4500" y="-100"/>
                                    </p:animMotion>
                                  </p:childTnLst>
                                </p:cTn>
                              </p:par>
                              <p:par>
                                <p:cTn id="21" presetID="49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44444E-6 -7.51793E-7 L 0.05573 -0.4564 " pathEditMode="relative" rAng="0" ptsTypes="AA">
                                      <p:cBhvr>
                                        <p:cTn id="22" dur="1000" spd="-100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800" y="-22800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49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-1.34629E-6 L 0.36996 -0.00694 " pathEditMode="relative" rAng="0" ptsTypes="AA">
                                      <p:cBhvr>
                                        <p:cTn id="24" dur="1000" spd="-100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8500" y="-3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41" y="1082"/>
          <a:ext cx="1440" cy="1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41" y="1082"/>
                        <a:ext cx="1440" cy="10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 bwMode="auto">
          <a:xfrm>
            <a:off x="11209" y="776068"/>
            <a:ext cx="9144000" cy="3724223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81395" tIns="40700" rIns="81395" bIns="40700" numCol="1" rtlCol="0" anchor="ctr" anchorCtr="0" compatLnSpc="1">
            <a:prstTxWarp prst="textNoShape">
              <a:avLst/>
            </a:prstTxWarp>
          </a:bodyPr>
          <a:lstStyle/>
          <a:p>
            <a:pPr defTabSz="362886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en-US" sz="1500">
              <a:solidFill>
                <a:srgbClr val="FFFFFF"/>
              </a:solidFill>
              <a:ea typeface="SimSun" pitchFamily="2" charset="-122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5778" y="171134"/>
            <a:ext cx="8621909" cy="50386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l">
              <a:lnSpc>
                <a:spcPct val="100000"/>
              </a:lnSpc>
              <a:defRPr sz="1900" b="1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95778" y="1151300"/>
            <a:ext cx="8621909" cy="3185545"/>
          </a:xfrm>
          <a:prstGeom prst="rect">
            <a:avLst/>
          </a:prstGeom>
        </p:spPr>
        <p:txBody>
          <a:bodyPr/>
          <a:lstStyle>
            <a:lvl1pPr marL="150026" indent="-150026" algn="l">
              <a:buFont typeface="Wingdings" pitchFamily="2" charset="2"/>
              <a:buChar char="§"/>
              <a:defRPr sz="1000">
                <a:solidFill>
                  <a:schemeClr val="tx1"/>
                </a:solidFill>
              </a:defRPr>
            </a:lvl1pPr>
            <a:lvl2pPr marL="509064" indent="-139768" algn="l">
              <a:buFont typeface="Wingdings" pitchFamily="2" charset="2"/>
              <a:buChar char="§"/>
              <a:defRPr sz="1000">
                <a:solidFill>
                  <a:schemeClr val="tx1"/>
                </a:solidFill>
              </a:defRPr>
            </a:lvl2pPr>
            <a:lvl3pPr marL="938622" indent="-200035" algn="l">
              <a:buFont typeface="Wingdings" pitchFamily="2" charset="2"/>
              <a:buChar char="§"/>
              <a:defRPr sz="1000">
                <a:solidFill>
                  <a:schemeClr val="tx1"/>
                </a:solidFill>
              </a:defRPr>
            </a:lvl3pPr>
            <a:lvl4pPr algn="l">
              <a:buFont typeface="Wingdings" pitchFamily="2" charset="2"/>
              <a:buChar char="§"/>
              <a:defRPr sz="1000">
                <a:solidFill>
                  <a:schemeClr val="tx1"/>
                </a:solidFill>
              </a:defRPr>
            </a:lvl4pPr>
            <a:lvl5pPr algn="l">
              <a:buFont typeface="Wingdings" pitchFamily="2" charset="2"/>
              <a:buChar char="§"/>
              <a:defRPr sz="1000">
                <a:solidFill>
                  <a:schemeClr val="tx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>
          <a:xfrm>
            <a:off x="7250061" y="4827478"/>
            <a:ext cx="1044383" cy="273353"/>
          </a:xfrm>
          <a:prstGeom prst="rect">
            <a:avLst/>
          </a:prstGeom>
        </p:spPr>
        <p:txBody>
          <a:bodyPr lIns="91197" tIns="45594" rIns="91197" bIns="45594"/>
          <a:lstStyle>
            <a:lvl1pPr algn="r">
              <a:defRPr sz="1000" b="1" smtClean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defTabSz="911949">
              <a:defRPr/>
            </a:pPr>
            <a:fld id="{C91976CA-5F44-41E6-9D8D-1F37A3950364}" type="datetime1">
              <a:rPr lang="en-US">
                <a:solidFill>
                  <a:prstClr val="black">
                    <a:lumMod val="85000"/>
                    <a:lumOff val="15000"/>
                  </a:prstClr>
                </a:solidFill>
              </a:rPr>
              <a:pPr defTabSz="911949">
                <a:defRPr/>
              </a:pPr>
              <a:t>9/21/2018</a:t>
            </a:fld>
            <a:endParaRPr lang="en-US" dirty="0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828838" y="4827478"/>
            <a:ext cx="5421217" cy="273353"/>
          </a:xfrm>
          <a:prstGeom prst="rect">
            <a:avLst/>
          </a:prstGeom>
        </p:spPr>
        <p:txBody>
          <a:bodyPr lIns="91197" tIns="45594" rIns="91197" bIns="45594"/>
          <a:lstStyle>
            <a:lvl1pPr marL="150026" indent="-150026" algn="l">
              <a:defRPr sz="600" b="0" dirty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509064" indent="-509064" defTabSz="911949">
              <a:defRPr/>
            </a:pPr>
            <a:r>
              <a:rPr lang="en-US">
                <a:solidFill>
                  <a:prstClr val="black">
                    <a:lumMod val="85000"/>
                    <a:lumOff val="15000"/>
                  </a:prstClr>
                </a:solidFill>
              </a:rPr>
              <a:t>*	Footer</a:t>
            </a:r>
          </a:p>
          <a:p>
            <a:pPr marL="509064" indent="-509064" defTabSz="911949">
              <a:defRPr/>
            </a:pPr>
            <a:r>
              <a:rPr lang="en-US">
                <a:solidFill>
                  <a:prstClr val="black">
                    <a:lumMod val="85000"/>
                    <a:lumOff val="15000"/>
                  </a:prstClr>
                </a:solidFill>
              </a:rPr>
              <a:t>Source:	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25441" y="4827478"/>
            <a:ext cx="588960" cy="273353"/>
          </a:xfrm>
          <a:prstGeom prst="rect">
            <a:avLst/>
          </a:prstGeom>
        </p:spPr>
        <p:txBody>
          <a:bodyPr lIns="91197" tIns="45594" rIns="91197" bIns="45594"/>
          <a:lstStyle>
            <a:lvl1pPr algn="r">
              <a:defRPr sz="1000" b="1" smtClean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defTabSz="911949">
              <a:defRPr/>
            </a:pPr>
            <a:fld id="{6129956D-6D5E-40ED-B4C2-BE386F84BC3B}" type="slidenum">
              <a:rPr lang="en-US">
                <a:solidFill>
                  <a:prstClr val="black">
                    <a:lumMod val="85000"/>
                    <a:lumOff val="15000"/>
                  </a:prstClr>
                </a:solidFill>
              </a:rPr>
              <a:pPr defTabSz="911949">
                <a:defRPr/>
              </a:pPr>
              <a:t>‹#›</a:t>
            </a:fld>
            <a:endParaRPr lang="en-US" dirty="0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195871" y="857572"/>
            <a:ext cx="8621797" cy="195712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13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Click to add subject title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 bwMode="auto">
          <a:xfrm>
            <a:off x="11209" y="767643"/>
            <a:ext cx="9144000" cy="0"/>
          </a:xfrm>
          <a:prstGeom prst="line">
            <a:avLst/>
          </a:prstGeom>
          <a:solidFill>
            <a:schemeClr val="bg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386963440"/>
      </p:ext>
    </p:extLst>
  </p:cSld>
  <p:clrMapOvr>
    <a:masterClrMapping/>
  </p:clrMapOvr>
  <p:transition spd="med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2" hasCustomPrompt="1"/>
          </p:nvPr>
        </p:nvSpPr>
        <p:spPr>
          <a:xfrm>
            <a:off x="457201" y="1036178"/>
            <a:ext cx="8228012" cy="3619428"/>
          </a:xfrm>
          <a:noFill/>
          <a:ln w="3175">
            <a:noFill/>
          </a:ln>
        </p:spPr>
        <p:txBody>
          <a:bodyPr>
            <a:noAutofit/>
          </a:bodyPr>
          <a:lstStyle>
            <a:lvl1pPr>
              <a:defRPr sz="1400">
                <a:latin typeface="Calibri" pitchFamily="34" charset="0"/>
                <a:cs typeface="Calibri" pitchFamily="34" charset="0"/>
              </a:defRPr>
            </a:lvl1pPr>
            <a:lvl2pPr marL="356237" indent="-178905">
              <a:defRPr sz="1400">
                <a:latin typeface="Calibri" pitchFamily="34" charset="0"/>
                <a:cs typeface="Calibri" pitchFamily="34" charset="0"/>
              </a:defRPr>
            </a:lvl2pPr>
            <a:lvl3pPr marL="533556" indent="-177325">
              <a:defRPr sz="1400">
                <a:latin typeface="Calibri" pitchFamily="34" charset="0"/>
                <a:cs typeface="Calibri" pitchFamily="34" charset="0"/>
              </a:defRPr>
            </a:lvl3pPr>
            <a:lvl4pPr marL="712461" indent="-178905">
              <a:defRPr sz="1400">
                <a:latin typeface="Calibri" pitchFamily="34" charset="0"/>
                <a:cs typeface="Calibri" pitchFamily="34" charset="0"/>
              </a:defRPr>
            </a:lvl4pPr>
            <a:lvl5pPr>
              <a:defRPr sz="1400">
                <a:latin typeface="Calibri" pitchFamily="34" charset="0"/>
                <a:cs typeface="Calibri" pitchFamily="34" charset="0"/>
              </a:defRPr>
            </a:lvl5pPr>
            <a:lvl8pPr marL="3191823" indent="0">
              <a:buNone/>
              <a:defRPr/>
            </a:lvl8pPr>
          </a:lstStyle>
          <a:p>
            <a:pPr lvl="0"/>
            <a:r>
              <a:rPr lang="nb-NO" dirty="0"/>
              <a:t>Text</a:t>
            </a:r>
          </a:p>
          <a:p>
            <a:pPr lvl="1"/>
            <a:r>
              <a:rPr lang="nb-NO" dirty="0"/>
              <a:t>Text</a:t>
            </a:r>
          </a:p>
          <a:p>
            <a:pPr lvl="2"/>
            <a:r>
              <a:rPr lang="nb-NO" dirty="0"/>
              <a:t>Text</a:t>
            </a:r>
          </a:p>
          <a:p>
            <a:pPr lvl="3"/>
            <a:r>
              <a:rPr lang="nb-NO" dirty="0"/>
              <a:t>Text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57994" y="750326"/>
            <a:ext cx="8686006" cy="0"/>
          </a:xfrm>
          <a:prstGeom prst="line">
            <a:avLst/>
          </a:prstGeom>
          <a:ln w="12700">
            <a:solidFill>
              <a:srgbClr val="E6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000">
                <a:solidFill>
                  <a:srgbClr val="E60000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nb-NO"/>
              <a:t>Master Title Slide Headline</a:t>
            </a:r>
            <a:endParaRPr lang="nb-NO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7497940" y="4923736"/>
            <a:ext cx="536400" cy="18365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r" defTabSz="911949"/>
            <a:fld id="{597A8DCA-8F96-49CD-B4D5-7AC92F955860}" type="slidenum">
              <a:rPr lang="nb-NO" sz="900">
                <a:solidFill>
                  <a:srgbClr val="7F7F7F"/>
                </a:solidFill>
                <a:latin typeface="Calibri" pitchFamily="34" charset="0"/>
                <a:cs typeface="Calibri" pitchFamily="34" charset="0"/>
              </a:rPr>
              <a:pPr algn="r" defTabSz="911949"/>
              <a:t>‹#›</a:t>
            </a:fld>
            <a:endParaRPr lang="nb-NO" sz="900" dirty="0">
              <a:solidFill>
                <a:srgbClr val="7F7F7F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458842" y="750342"/>
            <a:ext cx="8205261" cy="257254"/>
          </a:xfrm>
        </p:spPr>
        <p:txBody>
          <a:bodyPr anchor="ctr">
            <a:normAutofit/>
          </a:bodyPr>
          <a:lstStyle>
            <a:lvl1pPr marL="0" indent="0">
              <a:buNone/>
              <a:defRPr sz="1600" b="1">
                <a:solidFill>
                  <a:srgbClr val="363636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pic>
        <p:nvPicPr>
          <p:cNvPr id="1026" name="Picture 2" descr="http://ruter.no/Global/ruter_logo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7038" y="4938201"/>
            <a:ext cx="866775" cy="150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457201" y="4923736"/>
            <a:ext cx="7416000" cy="183657"/>
          </a:xfrm>
        </p:spPr>
        <p:txBody>
          <a:bodyPr anchor="b">
            <a:noAutofit/>
          </a:bodyPr>
          <a:lstStyle>
            <a:lvl1pPr marL="0" indent="0">
              <a:buNone/>
              <a:defRPr sz="9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nb-NO"/>
              <a:t>Kilde: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3863193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6538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580649" y="1234893"/>
            <a:ext cx="7980536" cy="1382118"/>
          </a:xfrm>
        </p:spPr>
        <p:txBody>
          <a:bodyPr lIns="0" tIns="0" rIns="0" bIns="0" anchor="b"/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 dirty="0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10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4" name="Bilde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25132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med mulighet for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 dirty="0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10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4" name="Bild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173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ødtekst med pun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611229" y="1059909"/>
            <a:ext cx="8137525" cy="1458612"/>
          </a:xfrm>
        </p:spPr>
        <p:txBody>
          <a:bodyPr tIns="71798" anchor="t">
            <a:normAutofit/>
          </a:bodyPr>
          <a:lstStyle>
            <a:lvl1pPr marL="0" indent="0">
              <a:buNone/>
              <a:defRPr sz="1800" b="0"/>
            </a:lvl1pPr>
            <a:lvl2pPr marL="341941" indent="0">
              <a:buNone/>
              <a:defRPr sz="1500" b="1"/>
            </a:lvl2pPr>
            <a:lvl3pPr marL="683886" indent="0">
              <a:buNone/>
              <a:defRPr sz="1350" b="1"/>
            </a:lvl3pPr>
            <a:lvl4pPr marL="1025830" indent="0">
              <a:buNone/>
              <a:defRPr sz="1200" b="1"/>
            </a:lvl4pPr>
            <a:lvl5pPr marL="1367774" indent="0">
              <a:buNone/>
              <a:defRPr sz="1200" b="1"/>
            </a:lvl5pPr>
            <a:lvl6pPr marL="1709716" indent="0">
              <a:buNone/>
              <a:defRPr sz="1200" b="1"/>
            </a:lvl6pPr>
            <a:lvl7pPr marL="2051661" indent="0">
              <a:buNone/>
              <a:defRPr sz="1200" b="1"/>
            </a:lvl7pPr>
            <a:lvl8pPr marL="2393602" indent="0">
              <a:buNone/>
              <a:defRPr sz="1200" b="1"/>
            </a:lvl8pPr>
            <a:lvl9pPr marL="2735546" indent="0">
              <a:buNone/>
              <a:defRPr sz="1200" b="1"/>
            </a:lvl9pPr>
          </a:lstStyle>
          <a:p>
            <a:pPr lvl="0"/>
            <a:r>
              <a:rPr lang="nb-NO" dirty="0"/>
              <a:t>Klikk for å skrive brødtekst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1229" y="2572557"/>
            <a:ext cx="8137525" cy="2023497"/>
          </a:xfrm>
        </p:spPr>
        <p:txBody>
          <a:bodyPr>
            <a:normAutofit/>
          </a:bodyPr>
          <a:lstStyle>
            <a:lvl1pPr>
              <a:defRPr sz="1500"/>
            </a:lvl1pPr>
            <a:lvl2pPr>
              <a:defRPr sz="135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>
          <a:xfrm>
            <a:off x="1115616" y="4680115"/>
            <a:ext cx="1008112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683962"/>
            <a:fld id="{EB0F282A-FEB3-45AE-AF75-CA9FCE549D64}" type="datetime1">
              <a:rPr lang="en-US" sz="1800" smtClean="0">
                <a:solidFill>
                  <a:srgbClr val="32374B"/>
                </a:solidFill>
              </a:rPr>
              <a:pPr defTabSz="683962"/>
              <a:t>9/21/2018</a:t>
            </a:fld>
            <a:endParaRPr lang="en-US" sz="1800" dirty="0">
              <a:solidFill>
                <a:srgbClr val="32374B"/>
              </a:solidFill>
            </a:endParaRPr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>
          <a:xfrm>
            <a:off x="2195736" y="4680115"/>
            <a:ext cx="5184576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683962"/>
            <a:endParaRPr lang="en-US" sz="1800">
              <a:solidFill>
                <a:srgbClr val="32374B"/>
              </a:solidFill>
            </a:endParaRP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>
          <a:xfrm>
            <a:off x="611188" y="4679428"/>
            <a:ext cx="405408" cy="216091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683962"/>
            <a:fld id="{7B785221-A51B-4371-B866-038075B34EEB}" type="slidenum">
              <a:rPr lang="nb-NO" sz="1800" smtClean="0">
                <a:solidFill>
                  <a:srgbClr val="32374B"/>
                </a:solidFill>
              </a:rPr>
              <a:pPr defTabSz="683962"/>
              <a:t>‹#›</a:t>
            </a:fld>
            <a:endParaRPr lang="nb-NO" sz="1800" dirty="0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2487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 dirty="0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12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76024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 dirty="0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69760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 dirty="0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06743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 dirty="0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113181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6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 dirty="0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74671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7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 dirty="0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403891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8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 dirty="0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3" name="Bilde 12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403208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9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 dirty="0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307528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#10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 dirty="0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544493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Bybus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 dirty="0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25325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>
          <a:xfrm>
            <a:off x="1115616" y="4680115"/>
            <a:ext cx="1008112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683962"/>
            <a:fld id="{200BDAEF-5C9A-42C5-B390-141539CEE15C}" type="datetime1">
              <a:rPr lang="en-US" sz="1800" smtClean="0">
                <a:solidFill>
                  <a:srgbClr val="32374B"/>
                </a:solidFill>
              </a:rPr>
              <a:pPr defTabSz="683962"/>
              <a:t>9/21/2018</a:t>
            </a:fld>
            <a:endParaRPr lang="en-US" sz="1800" dirty="0">
              <a:solidFill>
                <a:srgbClr val="32374B"/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xfrm>
            <a:off x="2195736" y="4680115"/>
            <a:ext cx="5184576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683962"/>
            <a:endParaRPr lang="en-US" sz="1800">
              <a:solidFill>
                <a:srgbClr val="32374B"/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>
          <a:xfrm>
            <a:off x="611188" y="4679428"/>
            <a:ext cx="405408" cy="216091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683962"/>
            <a:fld id="{7B785221-A51B-4371-B866-038075B34EEB}" type="slidenum">
              <a:rPr lang="nb-NO" sz="1800" smtClean="0">
                <a:solidFill>
                  <a:srgbClr val="32374B"/>
                </a:solidFill>
              </a:rPr>
              <a:pPr defTabSz="683962"/>
              <a:t>‹#›</a:t>
            </a:fld>
            <a:endParaRPr lang="nb-NO" sz="1800" dirty="0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1932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Bå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 dirty="0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720445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Metr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 dirty="0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537618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Regionbus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 dirty="0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562751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Trik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 dirty="0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668828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Forbruk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 dirty="0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532704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Forbruker #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 dirty="0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279587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Forbruker #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 dirty="0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06860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 Billett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tel 1"/>
          <p:cNvSpPr>
            <a:spLocks noGrp="1"/>
          </p:cNvSpPr>
          <p:nvPr>
            <p:ph type="ctrTitle"/>
          </p:nvPr>
        </p:nvSpPr>
        <p:spPr>
          <a:xfrm>
            <a:off x="-894" y="658013"/>
            <a:ext cx="9143621" cy="353458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lIns="579600" tIns="464400" rIns="579600" bIns="1512000" anchor="b">
            <a:spAutoFit/>
          </a:bodyPr>
          <a:lstStyle>
            <a:lvl1pPr algn="l">
              <a:defRPr sz="5000" b="1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580649" y="2779549"/>
            <a:ext cx="7980536" cy="316952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2300">
                <a:solidFill>
                  <a:schemeClr val="bg1"/>
                </a:solidFill>
              </a:defRPr>
            </a:lvl1pPr>
            <a:lvl2pPr marL="342849" indent="0" algn="ctr">
              <a:buNone/>
              <a:defRPr sz="1500"/>
            </a:lvl2pPr>
            <a:lvl3pPr marL="685697" indent="0" algn="ctr">
              <a:buNone/>
              <a:defRPr sz="1350"/>
            </a:lvl3pPr>
            <a:lvl4pPr marL="1028546" indent="0" algn="ctr">
              <a:buNone/>
              <a:defRPr sz="1200"/>
            </a:lvl4pPr>
            <a:lvl5pPr marL="1371394" indent="0" algn="ctr">
              <a:buNone/>
              <a:defRPr sz="1200"/>
            </a:lvl5pPr>
            <a:lvl6pPr marL="1714243" indent="0" algn="ctr">
              <a:buNone/>
              <a:defRPr sz="1200"/>
            </a:lvl6pPr>
            <a:lvl7pPr marL="2057091" indent="0" algn="ctr">
              <a:buNone/>
              <a:defRPr sz="1200"/>
            </a:lvl7pPr>
            <a:lvl8pPr marL="2399940" indent="0" algn="ctr">
              <a:buNone/>
              <a:defRPr sz="1200"/>
            </a:lvl8pPr>
            <a:lvl9pPr marL="2742789" indent="0" algn="ctr">
              <a:buNone/>
              <a:defRPr sz="1200"/>
            </a:lvl9pPr>
          </a:lstStyle>
          <a:p>
            <a:r>
              <a:rPr lang="nb-NO" dirty="0"/>
              <a:t>Klikk for å redigere undertittelstil i malen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 hasCustomPrompt="1"/>
          </p:nvPr>
        </p:nvSpPr>
        <p:spPr>
          <a:xfrm>
            <a:off x="580649" y="3703502"/>
            <a:ext cx="7980536" cy="166270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2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rnavn Etternavn, Stilling</a:t>
            </a:r>
          </a:p>
        </p:txBody>
      </p:sp>
      <p:sp>
        <p:nvSpPr>
          <p:cNvPr id="15" name="Plassholder for dato 10"/>
          <p:cNvSpPr>
            <a:spLocks noGrp="1"/>
          </p:cNvSpPr>
          <p:nvPr>
            <p:ph type="dt" sz="half" idx="2"/>
          </p:nvPr>
        </p:nvSpPr>
        <p:spPr>
          <a:xfrm>
            <a:off x="580649" y="3464146"/>
            <a:ext cx="7980536" cy="18474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05878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6341454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tel og innhold - hvit bun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9912" y="4737775"/>
            <a:ext cx="820800" cy="177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24800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1115616" y="4680115"/>
            <a:ext cx="1008112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683962"/>
            <a:fld id="{16D8101E-77DB-4D5D-BE45-8CBCEE45251A}" type="datetime1">
              <a:rPr lang="en-US" sz="1800" smtClean="0">
                <a:solidFill>
                  <a:srgbClr val="32374B"/>
                </a:solidFill>
              </a:rPr>
              <a:pPr defTabSz="683962"/>
              <a:t>9/21/2018</a:t>
            </a:fld>
            <a:endParaRPr lang="en-US" sz="1800" dirty="0">
              <a:solidFill>
                <a:srgbClr val="32374B"/>
              </a:solidFill>
            </a:endParaRP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>
          <a:xfrm>
            <a:off x="2195736" y="4680115"/>
            <a:ext cx="5184576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683962"/>
            <a:endParaRPr lang="en-US" sz="1800">
              <a:solidFill>
                <a:srgbClr val="32374B"/>
              </a:solidFill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>
          <a:xfrm>
            <a:off x="611188" y="4679428"/>
            <a:ext cx="405408" cy="216091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683962"/>
            <a:fld id="{7B785221-A51B-4371-B866-038075B34EEB}" type="slidenum">
              <a:rPr lang="nb-NO" sz="1800" smtClean="0">
                <a:solidFill>
                  <a:srgbClr val="32374B"/>
                </a:solidFill>
              </a:rPr>
              <a:pPr defTabSz="683962"/>
              <a:t>‹#›</a:t>
            </a:fld>
            <a:endParaRPr lang="nb-NO" sz="1800" dirty="0">
              <a:solidFill>
                <a:srgbClr val="3237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7653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Mørk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314"/>
            <a:ext cx="9145535" cy="5147402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2059233"/>
            <a:ext cx="7886700" cy="523220"/>
          </a:xfrm>
        </p:spPr>
        <p:txBody>
          <a:bodyPr anchor="b"/>
          <a:lstStyle>
            <a:lvl1pPr algn="ctr">
              <a:lnSpc>
                <a:spcPct val="100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66343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557"/>
            <a:ext cx="9145535" cy="5145887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2059233"/>
            <a:ext cx="7886700" cy="523220"/>
          </a:xfrm>
        </p:spPr>
        <p:txBody>
          <a:bodyPr anchor="b"/>
          <a:lstStyle>
            <a:lvl1pPr algn="ctr">
              <a:lnSpc>
                <a:spcPct val="100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837373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Gr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1557"/>
            <a:ext cx="9145533" cy="5145887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2059233"/>
            <a:ext cx="7886700" cy="523220"/>
          </a:xfrm>
        </p:spPr>
        <p:txBody>
          <a:bodyPr anchor="b"/>
          <a:lstStyle>
            <a:lvl1pPr algn="ctr">
              <a:lnSpc>
                <a:spcPct val="100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402992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Mørk Gr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1557"/>
            <a:ext cx="9145533" cy="5145886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2059233"/>
            <a:ext cx="7886700" cy="523220"/>
          </a:xfrm>
        </p:spPr>
        <p:txBody>
          <a:bodyPr anchor="b"/>
          <a:lstStyle>
            <a:lvl1pPr algn="ctr">
              <a:lnSpc>
                <a:spcPct val="100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75767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-1557"/>
            <a:ext cx="9145531" cy="5145886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2059233"/>
            <a:ext cx="7886700" cy="523220"/>
          </a:xfrm>
        </p:spPr>
        <p:txBody>
          <a:bodyPr anchor="b"/>
          <a:lstStyle>
            <a:lvl1pPr algn="ctr">
              <a:lnSpc>
                <a:spcPct val="100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838254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G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-1557"/>
            <a:ext cx="9145531" cy="5145885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2059233"/>
            <a:ext cx="7886700" cy="523220"/>
          </a:xfrm>
        </p:spPr>
        <p:txBody>
          <a:bodyPr anchor="b"/>
          <a:lstStyle>
            <a:lvl1pPr algn="ctr">
              <a:lnSpc>
                <a:spcPct val="100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145235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-1557"/>
            <a:ext cx="9145530" cy="5145885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2059233"/>
            <a:ext cx="7886700" cy="523220"/>
          </a:xfrm>
        </p:spPr>
        <p:txBody>
          <a:bodyPr anchor="b"/>
          <a:lstStyle>
            <a:lvl1pPr algn="ctr">
              <a:lnSpc>
                <a:spcPct val="100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519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-1557"/>
            <a:ext cx="9145530" cy="5145884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2059233"/>
            <a:ext cx="7886700" cy="523220"/>
          </a:xfrm>
        </p:spPr>
        <p:txBody>
          <a:bodyPr anchor="b"/>
          <a:lstStyle>
            <a:lvl1pPr algn="ctr">
              <a:lnSpc>
                <a:spcPct val="100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013190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telside L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9145528" cy="5145884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23887" y="2059233"/>
            <a:ext cx="7886700" cy="523220"/>
          </a:xfrm>
        </p:spPr>
        <p:txBody>
          <a:bodyPr anchor="b"/>
          <a:lstStyle>
            <a:lvl1pPr algn="ctr">
              <a:lnSpc>
                <a:spcPct val="100000"/>
              </a:lnSpc>
              <a:defRPr sz="340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3887" y="2877135"/>
            <a:ext cx="7886700" cy="1125488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4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697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54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39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24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0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994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7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  <p:pic>
        <p:nvPicPr>
          <p:cNvPr id="9" name="Bild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573" y="4651311"/>
            <a:ext cx="1487427" cy="493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38491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4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idx="13"/>
          </p:nvPr>
        </p:nvSpPr>
        <p:spPr>
          <a:xfrm>
            <a:off x="467497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271177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vadratisk bilde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714108" y="1221958"/>
            <a:ext cx="3651420" cy="2727842"/>
          </a:xfrm>
        </p:spPr>
        <p:txBody>
          <a:bodyPr/>
          <a:lstStyle>
            <a:lvl1pPr marL="0" indent="0">
              <a:buNone/>
              <a:defRPr sz="2400"/>
            </a:lvl1pPr>
            <a:lvl2pPr marL="341941" indent="0">
              <a:buNone/>
              <a:defRPr sz="2100"/>
            </a:lvl2pPr>
            <a:lvl3pPr marL="683886" indent="0">
              <a:buNone/>
              <a:defRPr sz="1800"/>
            </a:lvl3pPr>
            <a:lvl4pPr marL="1025830" indent="0">
              <a:buNone/>
              <a:defRPr sz="1500"/>
            </a:lvl4pPr>
            <a:lvl5pPr marL="1367774" indent="0">
              <a:buNone/>
              <a:defRPr sz="1500"/>
            </a:lvl5pPr>
            <a:lvl6pPr marL="1709716" indent="0">
              <a:buNone/>
              <a:defRPr sz="1500"/>
            </a:lvl6pPr>
            <a:lvl7pPr marL="2051661" indent="0">
              <a:buNone/>
              <a:defRPr sz="1500"/>
            </a:lvl7pPr>
            <a:lvl8pPr marL="2393602" indent="0">
              <a:buNone/>
              <a:defRPr sz="1500"/>
            </a:lvl8pPr>
            <a:lvl9pPr marL="2735546" indent="0">
              <a:buNone/>
              <a:defRPr sz="1500"/>
            </a:lvl9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1115616" y="4680115"/>
            <a:ext cx="1008112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683962"/>
            <a:fld id="{3B3796D8-1575-4461-AA64-5B9832273320}" type="datetime1">
              <a:rPr lang="en-US" sz="1800" smtClean="0">
                <a:solidFill>
                  <a:srgbClr val="32374B"/>
                </a:solidFill>
              </a:rPr>
              <a:pPr defTabSz="683962"/>
              <a:t>9/21/2018</a:t>
            </a:fld>
            <a:endParaRPr lang="en-US" sz="1800" dirty="0">
              <a:solidFill>
                <a:srgbClr val="32374B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2195736" y="4680115"/>
            <a:ext cx="5184576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683962"/>
            <a:endParaRPr lang="en-US" sz="1800">
              <a:solidFill>
                <a:srgbClr val="32374B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611188" y="4679428"/>
            <a:ext cx="405408" cy="216091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683962"/>
            <a:fld id="{7B785221-A51B-4371-B866-038075B34EEB}" type="slidenum">
              <a:rPr lang="nb-NO" sz="1800" smtClean="0">
                <a:solidFill>
                  <a:srgbClr val="32374B"/>
                </a:solidFill>
              </a:rPr>
              <a:pPr defTabSz="683962"/>
              <a:t>‹#›</a:t>
            </a:fld>
            <a:endParaRPr lang="nb-NO" sz="1800" dirty="0">
              <a:solidFill>
                <a:srgbClr val="32374B"/>
              </a:solidFill>
            </a:endParaRPr>
          </a:p>
        </p:txBody>
      </p:sp>
      <p:sp>
        <p:nvSpPr>
          <p:cNvPr id="9" name="Plassholder for innhold 3"/>
          <p:cNvSpPr>
            <a:spLocks noGrp="1"/>
          </p:cNvSpPr>
          <p:nvPr>
            <p:ph sz="half" idx="2"/>
          </p:nvPr>
        </p:nvSpPr>
        <p:spPr>
          <a:xfrm>
            <a:off x="4716016" y="1059910"/>
            <a:ext cx="3970784" cy="2917224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Tittel 1"/>
          <p:cNvSpPr>
            <a:spLocks noGrp="1"/>
          </p:cNvSpPr>
          <p:nvPr>
            <p:ph type="title"/>
          </p:nvPr>
        </p:nvSpPr>
        <p:spPr>
          <a:xfrm>
            <a:off x="611560" y="465672"/>
            <a:ext cx="8075240" cy="539967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53738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med overskrif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80649" y="670529"/>
            <a:ext cx="3886206" cy="387097"/>
          </a:xfrm>
        </p:spPr>
        <p:txBody>
          <a:bodyPr/>
          <a:lstStyle>
            <a:lvl1pPr>
              <a:defRPr sz="2800"/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4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0" name="Plassholder for innhold 2"/>
          <p:cNvSpPr>
            <a:spLocks noGrp="1"/>
          </p:cNvSpPr>
          <p:nvPr>
            <p:ph idx="13"/>
          </p:nvPr>
        </p:nvSpPr>
        <p:spPr>
          <a:xfrm>
            <a:off x="4674979" y="1369642"/>
            <a:ext cx="3886206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2" name="Plassholder for tekst 3"/>
          <p:cNvSpPr>
            <a:spLocks noGrp="1"/>
          </p:cNvSpPr>
          <p:nvPr>
            <p:ph type="body" sz="quarter" idx="14"/>
          </p:nvPr>
        </p:nvSpPr>
        <p:spPr>
          <a:xfrm>
            <a:off x="4674979" y="630001"/>
            <a:ext cx="3886206" cy="387097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rgbClr val="707070"/>
                </a:solidFill>
              </a:defRPr>
            </a:lvl1pPr>
          </a:lstStyle>
          <a:p>
            <a:pPr lvl="0"/>
            <a:r>
              <a:rPr lang="nb-NO" dirty="0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288049880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80650" y="1369642"/>
            <a:ext cx="3757601" cy="319450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4569619" y="1369642"/>
            <a:ext cx="3991495" cy="3194612"/>
          </a:xfrm>
        </p:spPr>
        <p:txBody>
          <a:bodyPr/>
          <a:lstStyle/>
          <a:p>
            <a:endParaRPr lang="nb-NO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2734561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tstilt bilde m/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2246289" y="4345564"/>
            <a:ext cx="4655473" cy="220827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1600">
                <a:solidFill>
                  <a:srgbClr val="707070"/>
                </a:solidFill>
              </a:defRPr>
            </a:lvl1pPr>
            <a:lvl2pPr marL="533995" indent="0">
              <a:buNone/>
              <a:defRPr/>
            </a:lvl2pPr>
            <a:lvl3pPr marL="838795" indent="0">
              <a:buNone/>
              <a:defRPr/>
            </a:lvl3pPr>
            <a:lvl4pPr marL="1138833" indent="0">
              <a:buNone/>
              <a:defRPr/>
            </a:lvl4pPr>
            <a:lvl5pPr marL="1476970" indent="0">
              <a:buNone/>
              <a:defRPr/>
            </a:lvl5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2246289" y="968998"/>
            <a:ext cx="4655473" cy="3199007"/>
          </a:xfrm>
        </p:spPr>
        <p:txBody>
          <a:bodyPr/>
          <a:lstStyle/>
          <a:p>
            <a:endParaRPr lang="nb-NO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7837963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580649" y="1207224"/>
            <a:ext cx="7984394" cy="3363859"/>
          </a:xfrm>
        </p:spPr>
        <p:txBody>
          <a:bodyPr/>
          <a:lstStyle/>
          <a:p>
            <a:endParaRPr lang="nb-NO"/>
          </a:p>
        </p:txBody>
      </p:sp>
      <p:sp>
        <p:nvSpPr>
          <p:cNvPr id="9" name="Tittel 1"/>
          <p:cNvSpPr>
            <a:spLocks noGrp="1"/>
          </p:cNvSpPr>
          <p:nvPr>
            <p:ph type="title"/>
          </p:nvPr>
        </p:nvSpPr>
        <p:spPr>
          <a:xfrm>
            <a:off x="580649" y="670529"/>
            <a:ext cx="7980536" cy="387097"/>
          </a:xfrm>
        </p:spPr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4392300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4571082"/>
          </a:xfrm>
        </p:spPr>
        <p:txBody>
          <a:bodyPr/>
          <a:lstStyle/>
          <a:p>
            <a:endParaRPr lang="nb-NO"/>
          </a:p>
        </p:txBody>
      </p:sp>
      <p:sp>
        <p:nvSpPr>
          <p:cNvPr id="5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15065859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dekkende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ilde 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5088"/>
          </a:xfrm>
        </p:spPr>
        <p:txBody>
          <a:bodyPr/>
          <a:lstStyle/>
          <a:p>
            <a:endParaRPr lang="nb-NO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14" hasCustomPrompt="1"/>
          </p:nvPr>
        </p:nvSpPr>
        <p:spPr>
          <a:xfrm>
            <a:off x="7657200" y="4651887"/>
            <a:ext cx="1486800" cy="4932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91560725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7857132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700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2143112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kside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6538"/>
          </a:xfrm>
          <a:prstGeom prst="rect">
            <a:avLst/>
          </a:prstGeom>
        </p:spPr>
      </p:pic>
      <p:pic>
        <p:nvPicPr>
          <p:cNvPr id="6" name="Bild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7"/>
            <a:ext cx="9144000" cy="5145012"/>
          </a:xfrm>
          <a:prstGeom prst="rect">
            <a:avLst/>
          </a:prstGeom>
        </p:spPr>
      </p:pic>
      <p:sp>
        <p:nvSpPr>
          <p:cNvPr id="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003926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kside #2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6538"/>
          </a:xfrm>
          <a:prstGeom prst="rect">
            <a:avLst/>
          </a:prstGeom>
        </p:spPr>
      </p:pic>
      <p:pic>
        <p:nvPicPr>
          <p:cNvPr id="2" name="Bild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6538"/>
          </a:xfrm>
          <a:prstGeom prst="rect">
            <a:avLst/>
          </a:prstGeom>
        </p:spPr>
      </p:pic>
      <p:sp>
        <p:nvSpPr>
          <p:cNvPr id="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-72009" y="36005"/>
            <a:ext cx="0" cy="1384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r>
              <a:rPr lang="nb-NO">
                <a:solidFill>
                  <a:prstClr val="white"/>
                </a:solidFill>
              </a:rPr>
              <a:t>Bunntekst</a:t>
            </a:r>
            <a:endParaRPr lang="nb-NO" dirty="0">
              <a:solidFill>
                <a:prstClr val="white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-72009" y="36005"/>
            <a:ext cx="0" cy="461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">
                <a:solidFill>
                  <a:schemeClr val="bg1"/>
                </a:solidFill>
              </a:defRPr>
            </a:lvl1pPr>
          </a:lstStyle>
          <a:p>
            <a:fld id="{304AD70F-8AF0-406B-B894-62E0F3D04367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78037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norama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714109" y="1221958"/>
            <a:ext cx="8034610" cy="2727842"/>
          </a:xfrm>
        </p:spPr>
        <p:txBody>
          <a:bodyPr/>
          <a:lstStyle>
            <a:lvl1pPr marL="0" indent="0">
              <a:buNone/>
              <a:defRPr sz="2400"/>
            </a:lvl1pPr>
            <a:lvl2pPr marL="341941" indent="0">
              <a:buNone/>
              <a:defRPr sz="2100"/>
            </a:lvl2pPr>
            <a:lvl3pPr marL="683886" indent="0">
              <a:buNone/>
              <a:defRPr sz="1800"/>
            </a:lvl3pPr>
            <a:lvl4pPr marL="1025830" indent="0">
              <a:buNone/>
              <a:defRPr sz="1500"/>
            </a:lvl4pPr>
            <a:lvl5pPr marL="1367774" indent="0">
              <a:buNone/>
              <a:defRPr sz="1500"/>
            </a:lvl5pPr>
            <a:lvl6pPr marL="1709716" indent="0">
              <a:buNone/>
              <a:defRPr sz="1500"/>
            </a:lvl6pPr>
            <a:lvl7pPr marL="2051661" indent="0">
              <a:buNone/>
              <a:defRPr sz="1500"/>
            </a:lvl7pPr>
            <a:lvl8pPr marL="2393602" indent="0">
              <a:buNone/>
              <a:defRPr sz="1500"/>
            </a:lvl8pPr>
            <a:lvl9pPr marL="2735546" indent="0">
              <a:buNone/>
              <a:defRPr sz="1500"/>
            </a:lvl9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1115616" y="4680115"/>
            <a:ext cx="1008112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683962"/>
            <a:fld id="{2AE30DE7-ED98-4A20-99FF-288CEE9FD113}" type="datetime1">
              <a:rPr lang="en-US" sz="1800" smtClean="0">
                <a:solidFill>
                  <a:srgbClr val="32374B"/>
                </a:solidFill>
              </a:rPr>
              <a:pPr defTabSz="683962"/>
              <a:t>9/21/2018</a:t>
            </a:fld>
            <a:endParaRPr lang="en-US" sz="1800" dirty="0">
              <a:solidFill>
                <a:srgbClr val="32374B"/>
              </a:solidFill>
            </a:endParaRP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2195736" y="4680115"/>
            <a:ext cx="5184576" cy="219233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683962"/>
            <a:endParaRPr lang="en-US" sz="1800">
              <a:solidFill>
                <a:srgbClr val="32374B"/>
              </a:solidFill>
            </a:endParaRP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611188" y="4679428"/>
            <a:ext cx="405408" cy="216091"/>
          </a:xfrm>
          <a:prstGeom prst="rect">
            <a:avLst/>
          </a:prstGeom>
        </p:spPr>
        <p:txBody>
          <a:bodyPr lIns="91197" tIns="45594" rIns="91197" bIns="45594"/>
          <a:lstStyle/>
          <a:p>
            <a:pPr defTabSz="683962"/>
            <a:fld id="{7B785221-A51B-4371-B866-038075B34EEB}" type="slidenum">
              <a:rPr lang="nb-NO" sz="1800" smtClean="0">
                <a:solidFill>
                  <a:srgbClr val="32374B"/>
                </a:solidFill>
              </a:rPr>
              <a:pPr defTabSz="683962"/>
              <a:t>‹#›</a:t>
            </a:fld>
            <a:endParaRPr lang="nb-NO" sz="1800" dirty="0">
              <a:solidFill>
                <a:srgbClr val="32374B"/>
              </a:solidFill>
            </a:endParaRPr>
          </a:p>
        </p:txBody>
      </p:sp>
      <p:sp>
        <p:nvSpPr>
          <p:cNvPr id="10" name="Tittel 1"/>
          <p:cNvSpPr>
            <a:spLocks noGrp="1"/>
          </p:cNvSpPr>
          <p:nvPr>
            <p:ph type="title"/>
          </p:nvPr>
        </p:nvSpPr>
        <p:spPr>
          <a:xfrm>
            <a:off x="611560" y="465672"/>
            <a:ext cx="8075240" cy="539967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4242997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146050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2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050" cy="1190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396875" y="217953"/>
            <a:ext cx="8350250" cy="4466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edit</a:t>
            </a:r>
            <a:r>
              <a:rPr lang="nb-NO" noProof="0" dirty="0"/>
              <a:t> Master </a:t>
            </a:r>
            <a:r>
              <a:rPr lang="nb-NO" noProof="0" dirty="0" err="1"/>
              <a:t>title</a:t>
            </a:r>
            <a:r>
              <a:rPr lang="nb-NO" noProof="0" dirty="0"/>
              <a:t> style</a:t>
            </a:r>
          </a:p>
        </p:txBody>
      </p:sp>
      <p:sp>
        <p:nvSpPr>
          <p:cNvPr id="11" name="Slide Number Placeholder 9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4391759" y="4934192"/>
            <a:ext cx="346075" cy="105831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844"/>
              </a:lnSpc>
              <a:defRPr sz="600" b="0">
                <a:solidFill>
                  <a:schemeClr val="tx2"/>
                </a:solidFill>
              </a:defRPr>
            </a:lvl1pPr>
          </a:lstStyle>
          <a:p>
            <a:fld id="{36A1E9A0-255F-48AA-8F8C-9F06434D4319}" type="slidenum">
              <a:rPr lang="nb-NO" smtClean="0">
                <a:solidFill>
                  <a:srgbClr val="F07800"/>
                </a:solidFill>
              </a:rPr>
              <a:pPr/>
              <a:t>‹#›</a:t>
            </a:fld>
            <a:endParaRPr lang="nb-NO" dirty="0">
              <a:solidFill>
                <a:srgbClr val="F07800"/>
              </a:solidFill>
            </a:endParaRPr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94190" y="837259"/>
            <a:ext cx="4010757" cy="195787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sz="1200" b="1" smtClean="0"/>
            </a:lvl1pPr>
          </a:lstStyle>
          <a:p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edit</a:t>
            </a:r>
            <a:r>
              <a:rPr lang="nb-NO" noProof="0" dirty="0"/>
              <a:t> Master </a:t>
            </a:r>
            <a:r>
              <a:rPr lang="nb-NO" noProof="0" dirty="0" err="1"/>
              <a:t>subtitle</a:t>
            </a:r>
            <a:r>
              <a:rPr lang="nb-NO" noProof="0" dirty="0"/>
              <a:t> styl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395447" y="1045692"/>
            <a:ext cx="4009500" cy="3694740"/>
          </a:xfrm>
          <a:prstGeom prst="rect">
            <a:avLst/>
          </a:prstGeom>
        </p:spPr>
        <p:txBody>
          <a:bodyPr wrap="square" lIns="0" tIns="0" rIns="0" bIns="0"/>
          <a:lstStyle>
            <a:lvl1pPr marL="135767" indent="-135767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Font typeface="Arial" pitchFamily="34" charset="0"/>
              <a:buChar char="•"/>
              <a:defRPr sz="1050">
                <a:solidFill>
                  <a:schemeClr val="tx2"/>
                </a:solidFill>
              </a:defRPr>
            </a:lvl1pPr>
            <a:lvl2pPr marL="270344" indent="-134577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Font typeface="Arial" pitchFamily="34" charset="0"/>
              <a:buChar char="−"/>
              <a:defRPr sz="900">
                <a:solidFill>
                  <a:schemeClr val="tx2"/>
                </a:solidFill>
              </a:defRPr>
            </a:lvl2pPr>
            <a:lvl3pPr marL="406112" indent="-128622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Font typeface="Arial" pitchFamily="34" charset="0"/>
              <a:buChar char="•"/>
              <a:defRPr sz="900">
                <a:solidFill>
                  <a:schemeClr val="tx2"/>
                </a:solidFill>
              </a:defRPr>
            </a:lvl3pPr>
            <a:lvl4pPr marL="533542" indent="-134577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Font typeface="Arial" pitchFamily="34" charset="0"/>
              <a:buChar char="−"/>
              <a:defRPr sz="900">
                <a:solidFill>
                  <a:schemeClr val="tx2"/>
                </a:solidFill>
              </a:defRPr>
            </a:lvl4pPr>
            <a:lvl5pPr marL="668119" indent="-134577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Font typeface="Arial" pitchFamily="34" charset="0"/>
              <a:buChar char="•"/>
              <a:defRPr sz="900">
                <a:solidFill>
                  <a:schemeClr val="tx2"/>
                </a:solidFill>
              </a:defRPr>
            </a:lvl5pPr>
            <a:lvl6pPr marL="675180" indent="-13503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90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810216" indent="-13503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9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945252" indent="-13503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9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080288" indent="-13503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9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edit</a:t>
            </a:r>
            <a:r>
              <a:rPr lang="nb-NO" noProof="0" dirty="0"/>
              <a:t> Master </a:t>
            </a:r>
            <a:r>
              <a:rPr lang="nb-NO" noProof="0" dirty="0" err="1"/>
              <a:t>text</a:t>
            </a:r>
            <a:r>
              <a:rPr lang="nb-NO" noProof="0" dirty="0"/>
              <a:t> styles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737590" y="866847"/>
            <a:ext cx="4010757" cy="1661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sz="1200" b="1"/>
            </a:lvl1pPr>
          </a:lstStyle>
          <a:p>
            <a:pPr lvl="0"/>
            <a:r>
              <a:rPr lang="nb-NO" dirty="0" err="1"/>
              <a:t>Click</a:t>
            </a:r>
            <a:r>
              <a:rPr lang="nb-NO" dirty="0"/>
              <a:t> to </a:t>
            </a:r>
            <a:r>
              <a:rPr lang="nb-NO" dirty="0" err="1"/>
              <a:t>add</a:t>
            </a:r>
            <a:r>
              <a:rPr lang="nb-NO" dirty="0"/>
              <a:t> </a:t>
            </a:r>
            <a:r>
              <a:rPr lang="nb-NO" dirty="0" err="1"/>
              <a:t>subtitle</a:t>
            </a:r>
            <a:endParaRPr lang="nb-NO" dirty="0"/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4737590" y="1045691"/>
            <a:ext cx="4009538" cy="3693992"/>
          </a:xfrm>
          <a:prstGeom prst="rect">
            <a:avLst/>
          </a:prstGeom>
        </p:spPr>
        <p:txBody>
          <a:bodyPr wrap="square" lIns="0" tIns="0" rIns="0" bIns="0"/>
          <a:lstStyle>
            <a:lvl1pPr marL="135767" indent="-135767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Font typeface="Arial" pitchFamily="34" charset="0"/>
              <a:buChar char="•"/>
              <a:defRPr sz="1050">
                <a:solidFill>
                  <a:schemeClr val="tx2"/>
                </a:solidFill>
              </a:defRPr>
            </a:lvl1pPr>
            <a:lvl2pPr marL="270344" indent="-134577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Font typeface="Arial" pitchFamily="34" charset="0"/>
              <a:buChar char="−"/>
              <a:defRPr sz="900">
                <a:solidFill>
                  <a:schemeClr val="tx2"/>
                </a:solidFill>
              </a:defRPr>
            </a:lvl2pPr>
            <a:lvl3pPr marL="406112" indent="-128622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Font typeface="Arial" pitchFamily="34" charset="0"/>
              <a:buChar char="•"/>
              <a:defRPr sz="900">
                <a:solidFill>
                  <a:schemeClr val="tx2"/>
                </a:solidFill>
              </a:defRPr>
            </a:lvl3pPr>
            <a:lvl4pPr marL="533542" indent="-134577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Font typeface="Arial" pitchFamily="34" charset="0"/>
              <a:buChar char="−"/>
              <a:defRPr sz="900">
                <a:solidFill>
                  <a:schemeClr val="tx2"/>
                </a:solidFill>
              </a:defRPr>
            </a:lvl4pPr>
            <a:lvl5pPr marL="668119" indent="-134577">
              <a:lnSpc>
                <a:spcPct val="100000"/>
              </a:lnSpc>
              <a:spcBef>
                <a:spcPts val="450"/>
              </a:spcBef>
              <a:spcAft>
                <a:spcPts val="0"/>
              </a:spcAft>
              <a:buFont typeface="Arial" pitchFamily="34" charset="0"/>
              <a:buChar char="•"/>
              <a:defRPr sz="900">
                <a:solidFill>
                  <a:schemeClr val="tx2"/>
                </a:solidFill>
              </a:defRPr>
            </a:lvl5pPr>
            <a:lvl6pPr marL="675180" indent="-13503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90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810216" indent="-13503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9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945252" indent="-13503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9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080288" indent="-135036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9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nb-NO" noProof="0" dirty="0" err="1"/>
              <a:t>Click</a:t>
            </a:r>
            <a:r>
              <a:rPr lang="nb-NO" noProof="0" dirty="0"/>
              <a:t> to </a:t>
            </a:r>
            <a:r>
              <a:rPr lang="nb-NO" noProof="0" dirty="0" err="1"/>
              <a:t>edit</a:t>
            </a:r>
            <a:r>
              <a:rPr lang="nb-NO" noProof="0" dirty="0"/>
              <a:t> Master </a:t>
            </a:r>
            <a:r>
              <a:rPr lang="nb-NO" noProof="0" dirty="0" err="1"/>
              <a:t>text</a:t>
            </a:r>
            <a:r>
              <a:rPr lang="nb-NO" noProof="0" dirty="0"/>
              <a:t> styles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40924009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norama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611561" y="1149064"/>
            <a:ext cx="8064896" cy="2727842"/>
          </a:xfrm>
        </p:spPr>
        <p:txBody>
          <a:bodyPr rtlCol="0">
            <a:normAutofit/>
          </a:bodyPr>
          <a:lstStyle>
            <a:lvl1pPr marL="0" indent="0">
              <a:buNone/>
              <a:defRPr sz="1622"/>
            </a:lvl1pPr>
            <a:lvl2pPr marL="428049" indent="0">
              <a:buNone/>
              <a:defRPr sz="2636"/>
            </a:lvl2pPr>
            <a:lvl3pPr marL="856099" indent="0">
              <a:buNone/>
              <a:defRPr sz="2230"/>
            </a:lvl3pPr>
            <a:lvl4pPr marL="1284148" indent="0">
              <a:buNone/>
              <a:defRPr sz="1876"/>
            </a:lvl4pPr>
            <a:lvl5pPr marL="1712198" indent="0">
              <a:buNone/>
              <a:defRPr sz="1876"/>
            </a:lvl5pPr>
            <a:lvl6pPr marL="2140247" indent="0">
              <a:buNone/>
              <a:defRPr sz="1876"/>
            </a:lvl6pPr>
            <a:lvl7pPr marL="2568296" indent="0">
              <a:buNone/>
              <a:defRPr sz="1876"/>
            </a:lvl7pPr>
            <a:lvl8pPr marL="2996346" indent="0">
              <a:buNone/>
              <a:defRPr sz="1876"/>
            </a:lvl8pPr>
            <a:lvl9pPr marL="3424395" indent="0">
              <a:buNone/>
              <a:defRPr sz="1876"/>
            </a:lvl9pPr>
          </a:lstStyle>
          <a:p>
            <a:pPr lvl="0"/>
            <a:r>
              <a:rPr lang="nb-NO" noProof="0"/>
              <a:t>Klikk ikonet for å legge til et bilde</a:t>
            </a:r>
            <a:endParaRPr lang="nb-NO" noProof="0" dirty="0"/>
          </a:p>
        </p:txBody>
      </p:sp>
      <p:sp>
        <p:nvSpPr>
          <p:cNvPr id="10" name="Tittel 1"/>
          <p:cNvSpPr>
            <a:spLocks noGrp="1"/>
          </p:cNvSpPr>
          <p:nvPr>
            <p:ph type="title"/>
          </p:nvPr>
        </p:nvSpPr>
        <p:spPr>
          <a:xfrm>
            <a:off x="611561" y="465660"/>
            <a:ext cx="8075240" cy="539967"/>
          </a:xfrm>
        </p:spPr>
        <p:txBody>
          <a:bodyPr anchor="ctr"/>
          <a:lstStyle>
            <a:lvl1pPr>
              <a:defRPr sz="223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611447" y="4689232"/>
            <a:ext cx="404950" cy="21639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BA78D6-888D-4277-B746-1CA1F7AD0B63}" type="slidenum">
              <a:rPr lang="nb-NO"/>
              <a:pPr>
                <a:defRPr/>
              </a:pPr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823325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10"/>
            <a:ext cx="9144000" cy="51434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Bilde 8" descr="Logo-hvit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9852" y="4664048"/>
            <a:ext cx="1160320" cy="22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ktangel 6"/>
          <p:cNvSpPr/>
          <p:nvPr userDrawn="1"/>
        </p:nvSpPr>
        <p:spPr>
          <a:xfrm>
            <a:off x="467525" y="843840"/>
            <a:ext cx="8281358" cy="2070584"/>
          </a:xfrm>
          <a:prstGeom prst="rect">
            <a:avLst/>
          </a:prstGeom>
          <a:solidFill>
            <a:srgbClr val="FFFFFF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92" tIns="45695" rIns="91392" bIns="45695" anchor="ctr"/>
          <a:lstStyle/>
          <a:p>
            <a:pPr algn="ctr" defTabSz="913908">
              <a:defRPr/>
            </a:pPr>
            <a:endParaRPr lang="nb-NO" sz="1800">
              <a:solidFill>
                <a:srgbClr val="FFFFFF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11188" y="1600140"/>
            <a:ext cx="7772400" cy="612256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11188" y="915849"/>
            <a:ext cx="7777236" cy="648272"/>
          </a:xfrm>
        </p:spPr>
        <p:txBody>
          <a:bodyPr>
            <a:no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</a:defRPr>
            </a:lvl1pPr>
            <a:lvl2pPr marL="456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9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8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8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47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17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86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56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3"/>
          </p:nvPr>
        </p:nvSpPr>
        <p:spPr>
          <a:xfrm>
            <a:off x="611188" y="2212403"/>
            <a:ext cx="7777162" cy="648849"/>
          </a:xfrm>
        </p:spPr>
        <p:txBody>
          <a:bodyPr>
            <a:normAutofit/>
          </a:bodyPr>
          <a:lstStyle>
            <a:lvl1pPr marL="0" indent="0">
              <a:buNone/>
              <a:defRPr sz="1800"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lassholder for dato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7FA55791-3AD1-4C7F-B3F0-9192D4EE855B}" type="datetime1">
              <a:rPr lang="en-US"/>
              <a:pPr>
                <a:defRPr/>
              </a:pPr>
              <a:t>9/21/2018</a:t>
            </a:fld>
            <a:endParaRPr/>
          </a:p>
        </p:txBody>
      </p:sp>
      <p:sp>
        <p:nvSpPr>
          <p:cNvPr id="9" name="Plassholder for bunntekst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t>  Versjon 8 - 26. november</a:t>
            </a:r>
          </a:p>
        </p:txBody>
      </p:sp>
      <p:sp>
        <p:nvSpPr>
          <p:cNvPr id="10" name="Plassholder for lysbildenumm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defTabSz="494752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DIN-Regular" pitchFamily="50" charset="0"/>
              </a:defRPr>
            </a:lvl1pPr>
          </a:lstStyle>
          <a:p>
            <a:pPr>
              <a:defRPr/>
            </a:pPr>
            <a:fld id="{09B3E50C-3CBB-4673-AB72-B81275EEF5D7}" type="slidenum">
              <a:rPr lang="nb-NO"/>
              <a:pPr>
                <a:defRPr/>
              </a:pPr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054340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6F713C71-8C22-4F19-B360-B6876BDF32D2}" type="datetime1">
              <a:rPr lang="en-US"/>
              <a:pPr>
                <a:defRPr/>
              </a:pPr>
              <a:t>9/21/2018</a:t>
            </a:fld>
            <a:endParaRPr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t>  Versjon 8 - 26. november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94752" fontAlgn="base">
              <a:spcBef>
                <a:spcPct val="0"/>
              </a:spcBef>
              <a:spcAft>
                <a:spcPct val="0"/>
              </a:spcAft>
              <a:defRPr>
                <a:latin typeface="DIN-Regular" pitchFamily="50" charset="0"/>
              </a:defRPr>
            </a:lvl1pPr>
          </a:lstStyle>
          <a:p>
            <a:pPr>
              <a:defRPr/>
            </a:pPr>
            <a:fld id="{A893768C-1A51-407B-B2B6-4626B9D10210}" type="slidenum">
              <a:rPr lang="nb-NO"/>
              <a:pPr>
                <a:defRPr/>
              </a:pPr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0622166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11188" y="1059910"/>
            <a:ext cx="3744788" cy="3536131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716016" y="1059910"/>
            <a:ext cx="3970784" cy="3536131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31E116AF-3AC4-40D6-AB68-4D8DF3FF8D64}" type="datetime1">
              <a:rPr lang="en-US"/>
              <a:pPr>
                <a:defRPr/>
              </a:pPr>
              <a:t>9/21/2018</a:t>
            </a:fld>
            <a:endParaRPr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t>  Versjon 8 - 26. november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94752" fontAlgn="base">
              <a:spcBef>
                <a:spcPct val="0"/>
              </a:spcBef>
              <a:spcAft>
                <a:spcPct val="0"/>
              </a:spcAft>
              <a:defRPr>
                <a:latin typeface="DIN-Regular" pitchFamily="50" charset="0"/>
              </a:defRPr>
            </a:lvl1pPr>
          </a:lstStyle>
          <a:p>
            <a:pPr>
              <a:defRPr/>
            </a:pPr>
            <a:fld id="{07D929C3-2418-46A5-A64F-FEBA73D3791E}" type="slidenum">
              <a:rPr lang="nb-NO"/>
              <a:pPr>
                <a:defRPr/>
              </a:pPr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4327375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11188" y="1059909"/>
            <a:ext cx="3744788" cy="642019"/>
          </a:xfrm>
        </p:spPr>
        <p:txBody>
          <a:bodyPr/>
          <a:lstStyle>
            <a:lvl1pPr marL="0" indent="0">
              <a:buNone/>
              <a:defRPr sz="2400" b="1"/>
            </a:lvl1pPr>
            <a:lvl2pPr marL="456952" indent="0">
              <a:buNone/>
              <a:defRPr sz="2000" b="1"/>
            </a:lvl2pPr>
            <a:lvl3pPr marL="913908" indent="0">
              <a:buNone/>
              <a:defRPr sz="1800" b="1"/>
            </a:lvl3pPr>
            <a:lvl4pPr marL="1370859" indent="0">
              <a:buNone/>
              <a:defRPr sz="1600" b="1"/>
            </a:lvl4pPr>
            <a:lvl5pPr marL="1827811" indent="0">
              <a:buNone/>
              <a:defRPr sz="1600" b="1"/>
            </a:lvl5pPr>
            <a:lvl6pPr marL="2284767" indent="0">
              <a:buNone/>
              <a:defRPr sz="1600" b="1"/>
            </a:lvl6pPr>
            <a:lvl7pPr marL="2741718" indent="0">
              <a:buNone/>
              <a:defRPr sz="1600" b="1"/>
            </a:lvl7pPr>
            <a:lvl8pPr marL="3198673" indent="0">
              <a:buNone/>
              <a:defRPr sz="1600" b="1"/>
            </a:lvl8pPr>
            <a:lvl9pPr marL="3655627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1188" y="1708181"/>
            <a:ext cx="3744788" cy="2887859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716017" y="1059909"/>
            <a:ext cx="4032697" cy="64827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952" indent="0">
              <a:buNone/>
              <a:defRPr sz="2000" b="1"/>
            </a:lvl2pPr>
            <a:lvl3pPr marL="913908" indent="0">
              <a:buNone/>
              <a:defRPr sz="1800" b="1"/>
            </a:lvl3pPr>
            <a:lvl4pPr marL="1370859" indent="0">
              <a:buNone/>
              <a:defRPr sz="1600" b="1"/>
            </a:lvl4pPr>
            <a:lvl5pPr marL="1827811" indent="0">
              <a:buNone/>
              <a:defRPr sz="1600" b="1"/>
            </a:lvl5pPr>
            <a:lvl6pPr marL="2284767" indent="0">
              <a:buNone/>
              <a:defRPr sz="1600" b="1"/>
            </a:lvl6pPr>
            <a:lvl7pPr marL="2741718" indent="0">
              <a:buNone/>
              <a:defRPr sz="1600" b="1"/>
            </a:lvl7pPr>
            <a:lvl8pPr marL="3198673" indent="0">
              <a:buNone/>
              <a:defRPr sz="1600" b="1"/>
            </a:lvl8pPr>
            <a:lvl9pPr marL="3655627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716016" y="1631660"/>
            <a:ext cx="3970784" cy="296438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017D2606-659F-4F04-AEC3-76CDF6023632}" type="datetime1">
              <a:rPr lang="en-US"/>
              <a:pPr>
                <a:defRPr/>
              </a:pPr>
              <a:t>9/21/2018</a:t>
            </a:fld>
            <a:endParaRPr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t>  Versjon 8 - 26. november</a:t>
            </a: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94752" fontAlgn="base">
              <a:spcBef>
                <a:spcPct val="0"/>
              </a:spcBef>
              <a:spcAft>
                <a:spcPct val="0"/>
              </a:spcAft>
              <a:defRPr>
                <a:latin typeface="DIN-Regular" pitchFamily="50" charset="0"/>
              </a:defRPr>
            </a:lvl1pPr>
          </a:lstStyle>
          <a:p>
            <a:pPr>
              <a:defRPr/>
            </a:pPr>
            <a:fld id="{DCBD15F0-737C-4F0C-B707-6EAD8CF8DBE2}" type="slidenum">
              <a:rPr lang="nb-NO"/>
              <a:pPr>
                <a:defRPr/>
              </a:pPr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977135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ødtekst med pun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11198" y="1059909"/>
            <a:ext cx="8137525" cy="1458612"/>
          </a:xfrm>
        </p:spPr>
        <p:txBody>
          <a:bodyPr tIns="71961">
            <a:normAutofit/>
          </a:bodyPr>
          <a:lstStyle>
            <a:lvl1pPr marL="0" indent="0">
              <a:buNone/>
              <a:defRPr sz="2400" b="0"/>
            </a:lvl1pPr>
            <a:lvl2pPr marL="456952" indent="0">
              <a:buNone/>
              <a:defRPr sz="2000" b="1"/>
            </a:lvl2pPr>
            <a:lvl3pPr marL="913908" indent="0">
              <a:buNone/>
              <a:defRPr sz="1800" b="1"/>
            </a:lvl3pPr>
            <a:lvl4pPr marL="1370859" indent="0">
              <a:buNone/>
              <a:defRPr sz="1600" b="1"/>
            </a:lvl4pPr>
            <a:lvl5pPr marL="1827811" indent="0">
              <a:buNone/>
              <a:defRPr sz="1600" b="1"/>
            </a:lvl5pPr>
            <a:lvl6pPr marL="2284767" indent="0">
              <a:buNone/>
              <a:defRPr sz="1600" b="1"/>
            </a:lvl6pPr>
            <a:lvl7pPr marL="2741718" indent="0">
              <a:buNone/>
              <a:defRPr sz="1600" b="1"/>
            </a:lvl7pPr>
            <a:lvl8pPr marL="3198673" indent="0">
              <a:buNone/>
              <a:defRPr sz="1600" b="1"/>
            </a:lvl8pPr>
            <a:lvl9pPr marL="3655627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1198" y="2572544"/>
            <a:ext cx="8137525" cy="2023496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D570F667-3AE5-418C-99CB-FB32CAF5907B}" type="datetime1">
              <a:rPr lang="en-US"/>
              <a:pPr>
                <a:defRPr/>
              </a:pPr>
              <a:t>9/21/2018</a:t>
            </a:fld>
            <a:endParaRPr/>
          </a:p>
        </p:txBody>
      </p:sp>
      <p:sp>
        <p:nvSpPr>
          <p:cNvPr id="6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t>  Versjon 8 - 26. november</a:t>
            </a:r>
          </a:p>
        </p:txBody>
      </p:sp>
      <p:sp>
        <p:nvSpPr>
          <p:cNvPr id="7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94752" fontAlgn="base">
              <a:spcBef>
                <a:spcPct val="0"/>
              </a:spcBef>
              <a:spcAft>
                <a:spcPct val="0"/>
              </a:spcAft>
              <a:defRPr>
                <a:latin typeface="DIN-Regular" pitchFamily="50" charset="0"/>
              </a:defRPr>
            </a:lvl1pPr>
          </a:lstStyle>
          <a:p>
            <a:pPr>
              <a:defRPr/>
            </a:pPr>
            <a:fld id="{F7706E0B-BA7B-4ECB-B421-01698EF15B6D}" type="slidenum">
              <a:rPr lang="nb-NO"/>
              <a:pPr>
                <a:defRPr/>
              </a:pPr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4320434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AC0E8069-239B-4B90-BE92-C59E091D2542}" type="datetime1">
              <a:rPr lang="en-US"/>
              <a:pPr>
                <a:defRPr/>
              </a:pPr>
              <a:t>9/21/2018</a:t>
            </a:fld>
            <a:endParaRPr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t>  Versjon 8 - 26. november</a:t>
            </a: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94752" fontAlgn="base">
              <a:spcBef>
                <a:spcPct val="0"/>
              </a:spcBef>
              <a:spcAft>
                <a:spcPct val="0"/>
              </a:spcAft>
              <a:defRPr>
                <a:latin typeface="DIN-Regular" pitchFamily="50" charset="0"/>
              </a:defRPr>
            </a:lvl1pPr>
          </a:lstStyle>
          <a:p>
            <a:pPr>
              <a:defRPr/>
            </a:pPr>
            <a:fld id="{00AAED77-05B4-469E-A7D0-76E84A13A3B3}" type="slidenum">
              <a:rPr lang="nb-NO"/>
              <a:pPr>
                <a:defRPr/>
              </a:pPr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7561036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2044FB49-0A67-4219-8EB6-BEC2EFB83D5A}" type="datetime1">
              <a:rPr lang="en-US"/>
              <a:pPr>
                <a:defRPr/>
              </a:pPr>
              <a:t>9/21/2018</a:t>
            </a:fld>
            <a:endParaRPr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t>  Versjon 8 - 26. november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94752" fontAlgn="base">
              <a:spcBef>
                <a:spcPct val="0"/>
              </a:spcBef>
              <a:spcAft>
                <a:spcPct val="0"/>
              </a:spcAft>
              <a:defRPr>
                <a:latin typeface="DIN-Regular" pitchFamily="50" charset="0"/>
              </a:defRPr>
            </a:lvl1pPr>
          </a:lstStyle>
          <a:p>
            <a:pPr>
              <a:defRPr/>
            </a:pPr>
            <a:fld id="{B73A1FDB-C37F-4614-9D51-B0DA2B032FA9}" type="slidenum">
              <a:rPr lang="nb-NO"/>
              <a:pPr>
                <a:defRPr/>
              </a:pPr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66334585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vadratisk bilde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714103" y="1221958"/>
            <a:ext cx="3651420" cy="2727842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6952" indent="0">
              <a:buNone/>
              <a:defRPr sz="2800"/>
            </a:lvl2pPr>
            <a:lvl3pPr marL="913908" indent="0">
              <a:buNone/>
              <a:defRPr sz="2400"/>
            </a:lvl3pPr>
            <a:lvl4pPr marL="1370859" indent="0">
              <a:buNone/>
              <a:defRPr sz="2000"/>
            </a:lvl4pPr>
            <a:lvl5pPr marL="1827811" indent="0">
              <a:buNone/>
              <a:defRPr sz="2000"/>
            </a:lvl5pPr>
            <a:lvl6pPr marL="2284767" indent="0">
              <a:buNone/>
              <a:defRPr sz="2000"/>
            </a:lvl6pPr>
            <a:lvl7pPr marL="2741718" indent="0">
              <a:buNone/>
              <a:defRPr sz="2000"/>
            </a:lvl7pPr>
            <a:lvl8pPr marL="3198673" indent="0">
              <a:buNone/>
              <a:defRPr sz="2000"/>
            </a:lvl8pPr>
            <a:lvl9pPr marL="3655627" indent="0">
              <a:buNone/>
              <a:defRPr sz="2000"/>
            </a:lvl9pPr>
          </a:lstStyle>
          <a:p>
            <a:pPr lvl="0"/>
            <a:r>
              <a:rPr lang="nb-NO" noProof="0"/>
              <a:t>Klikk ikonet for å legge til et bilde</a:t>
            </a:r>
          </a:p>
        </p:txBody>
      </p:sp>
      <p:sp>
        <p:nvSpPr>
          <p:cNvPr id="9" name="Plassholder for innhold 3"/>
          <p:cNvSpPr>
            <a:spLocks noGrp="1"/>
          </p:cNvSpPr>
          <p:nvPr>
            <p:ph sz="half" idx="2"/>
          </p:nvPr>
        </p:nvSpPr>
        <p:spPr>
          <a:xfrm>
            <a:off x="4716016" y="1059915"/>
            <a:ext cx="3970784" cy="2917225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Tittel 1"/>
          <p:cNvSpPr>
            <a:spLocks noGrp="1"/>
          </p:cNvSpPr>
          <p:nvPr>
            <p:ph type="title"/>
          </p:nvPr>
        </p:nvSpPr>
        <p:spPr>
          <a:xfrm>
            <a:off x="611560" y="465662"/>
            <a:ext cx="8075240" cy="539967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3FB47C62-998E-4BC0-9620-D0736F66D9EC}" type="datetime1">
              <a:rPr lang="en-US"/>
              <a:pPr>
                <a:defRPr/>
              </a:pPr>
              <a:t>9/21/2018</a:t>
            </a:fld>
            <a:endParaRPr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t>  Versjon 8 - 26. november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94752" fontAlgn="base">
              <a:spcBef>
                <a:spcPct val="0"/>
              </a:spcBef>
              <a:spcAft>
                <a:spcPct val="0"/>
              </a:spcAft>
              <a:defRPr>
                <a:latin typeface="DIN-Regular" pitchFamily="50" charset="0"/>
              </a:defRPr>
            </a:lvl1pPr>
          </a:lstStyle>
          <a:p>
            <a:pPr>
              <a:defRPr/>
            </a:pPr>
            <a:fld id="{9B9DCCEC-D28A-44B1-B83A-E67B8DD6FF4A}" type="slidenum">
              <a:rPr lang="nb-NO"/>
              <a:pPr>
                <a:defRPr/>
              </a:pPr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566529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5.xml"/><Relationship Id="rId13" Type="http://schemas.openxmlformats.org/officeDocument/2006/relationships/slideLayout" Target="../slideLayouts/slideLayout250.xml"/><Relationship Id="rId18" Type="http://schemas.openxmlformats.org/officeDocument/2006/relationships/oleObject" Target="../embeddings/oleObject18.bin"/><Relationship Id="rId3" Type="http://schemas.openxmlformats.org/officeDocument/2006/relationships/slideLayout" Target="../slideLayouts/slideLayout240.xml"/><Relationship Id="rId7" Type="http://schemas.openxmlformats.org/officeDocument/2006/relationships/slideLayout" Target="../slideLayouts/slideLayout244.xml"/><Relationship Id="rId12" Type="http://schemas.openxmlformats.org/officeDocument/2006/relationships/slideLayout" Target="../slideLayouts/slideLayout249.xml"/><Relationship Id="rId17" Type="http://schemas.openxmlformats.org/officeDocument/2006/relationships/tags" Target="../tags/tag22.xml"/><Relationship Id="rId2" Type="http://schemas.openxmlformats.org/officeDocument/2006/relationships/slideLayout" Target="../slideLayouts/slideLayout239.xml"/><Relationship Id="rId16" Type="http://schemas.openxmlformats.org/officeDocument/2006/relationships/vmlDrawing" Target="../drawings/vmlDrawing18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238.xml"/><Relationship Id="rId6" Type="http://schemas.openxmlformats.org/officeDocument/2006/relationships/slideLayout" Target="../slideLayouts/slideLayout243.xml"/><Relationship Id="rId11" Type="http://schemas.openxmlformats.org/officeDocument/2006/relationships/slideLayout" Target="../slideLayouts/slideLayout248.xml"/><Relationship Id="rId5" Type="http://schemas.openxmlformats.org/officeDocument/2006/relationships/slideLayout" Target="../slideLayouts/slideLayout242.xml"/><Relationship Id="rId15" Type="http://schemas.openxmlformats.org/officeDocument/2006/relationships/theme" Target="../theme/theme10.xml"/><Relationship Id="rId10" Type="http://schemas.openxmlformats.org/officeDocument/2006/relationships/slideLayout" Target="../slideLayouts/slideLayout247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241.xml"/><Relationship Id="rId9" Type="http://schemas.openxmlformats.org/officeDocument/2006/relationships/slideLayout" Target="../slideLayouts/slideLayout246.xml"/><Relationship Id="rId14" Type="http://schemas.openxmlformats.org/officeDocument/2006/relationships/slideLayout" Target="../slideLayouts/slideLayout251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9.xml"/><Relationship Id="rId13" Type="http://schemas.openxmlformats.org/officeDocument/2006/relationships/slideLayout" Target="../slideLayouts/slideLayout264.xml"/><Relationship Id="rId18" Type="http://schemas.openxmlformats.org/officeDocument/2006/relationships/theme" Target="../theme/theme11.xml"/><Relationship Id="rId3" Type="http://schemas.openxmlformats.org/officeDocument/2006/relationships/slideLayout" Target="../slideLayouts/slideLayout254.xml"/><Relationship Id="rId21" Type="http://schemas.openxmlformats.org/officeDocument/2006/relationships/oleObject" Target="../embeddings/oleObject20.bin"/><Relationship Id="rId7" Type="http://schemas.openxmlformats.org/officeDocument/2006/relationships/slideLayout" Target="../slideLayouts/slideLayout258.xml"/><Relationship Id="rId12" Type="http://schemas.openxmlformats.org/officeDocument/2006/relationships/slideLayout" Target="../slideLayouts/slideLayout263.xml"/><Relationship Id="rId17" Type="http://schemas.openxmlformats.org/officeDocument/2006/relationships/slideLayout" Target="../slideLayouts/slideLayout268.xml"/><Relationship Id="rId2" Type="http://schemas.openxmlformats.org/officeDocument/2006/relationships/slideLayout" Target="../slideLayouts/slideLayout253.xml"/><Relationship Id="rId16" Type="http://schemas.openxmlformats.org/officeDocument/2006/relationships/slideLayout" Target="../slideLayouts/slideLayout267.xml"/><Relationship Id="rId20" Type="http://schemas.openxmlformats.org/officeDocument/2006/relationships/tags" Target="../tags/tag24.xml"/><Relationship Id="rId1" Type="http://schemas.openxmlformats.org/officeDocument/2006/relationships/slideLayout" Target="../slideLayouts/slideLayout252.xml"/><Relationship Id="rId6" Type="http://schemas.openxmlformats.org/officeDocument/2006/relationships/slideLayout" Target="../slideLayouts/slideLayout257.xml"/><Relationship Id="rId11" Type="http://schemas.openxmlformats.org/officeDocument/2006/relationships/slideLayout" Target="../slideLayouts/slideLayout262.xml"/><Relationship Id="rId5" Type="http://schemas.openxmlformats.org/officeDocument/2006/relationships/slideLayout" Target="../slideLayouts/slideLayout256.xml"/><Relationship Id="rId15" Type="http://schemas.openxmlformats.org/officeDocument/2006/relationships/slideLayout" Target="../slideLayouts/slideLayout266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261.xml"/><Relationship Id="rId19" Type="http://schemas.openxmlformats.org/officeDocument/2006/relationships/vmlDrawing" Target="../drawings/vmlDrawing20.vml"/><Relationship Id="rId4" Type="http://schemas.openxmlformats.org/officeDocument/2006/relationships/slideLayout" Target="../slideLayouts/slideLayout255.xml"/><Relationship Id="rId9" Type="http://schemas.openxmlformats.org/officeDocument/2006/relationships/slideLayout" Target="../slideLayouts/slideLayout260.xml"/><Relationship Id="rId14" Type="http://schemas.openxmlformats.org/officeDocument/2006/relationships/slideLayout" Target="../slideLayouts/slideLayout265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vmlDrawing" Target="../drawings/vmlDrawing3.vml"/><Relationship Id="rId3" Type="http://schemas.openxmlformats.org/officeDocument/2006/relationships/slideLayout" Target="../slideLayouts/slideLayout18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oleObject" Target="../embeddings/oleObject3.bin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vmlDrawing" Target="../drawings/vmlDrawing5.vml"/><Relationship Id="rId3" Type="http://schemas.openxmlformats.org/officeDocument/2006/relationships/slideLayout" Target="../slideLayouts/slideLayout34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oleObject" Target="../embeddings/oleObject5.bin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41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26" Type="http://schemas.openxmlformats.org/officeDocument/2006/relationships/slideLayout" Target="../slideLayouts/slideLayout73.xml"/><Relationship Id="rId39" Type="http://schemas.openxmlformats.org/officeDocument/2006/relationships/slideLayout" Target="../slideLayouts/slideLayout86.xml"/><Relationship Id="rId3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68.xml"/><Relationship Id="rId34" Type="http://schemas.openxmlformats.org/officeDocument/2006/relationships/slideLayout" Target="../slideLayouts/slideLayout81.xml"/><Relationship Id="rId42" Type="http://schemas.openxmlformats.org/officeDocument/2006/relationships/slideLayout" Target="../slideLayouts/slideLayout89.xml"/><Relationship Id="rId47" Type="http://schemas.openxmlformats.org/officeDocument/2006/relationships/tags" Target="../tags/tag8.xml"/><Relationship Id="rId50" Type="http://schemas.openxmlformats.org/officeDocument/2006/relationships/image" Target="../media/image11.png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72.xml"/><Relationship Id="rId33" Type="http://schemas.openxmlformats.org/officeDocument/2006/relationships/slideLayout" Target="../slideLayouts/slideLayout80.xml"/><Relationship Id="rId38" Type="http://schemas.openxmlformats.org/officeDocument/2006/relationships/slideLayout" Target="../slideLayouts/slideLayout85.xml"/><Relationship Id="rId46" Type="http://schemas.openxmlformats.org/officeDocument/2006/relationships/vmlDrawing" Target="../drawings/vmlDrawing7.v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0" Type="http://schemas.openxmlformats.org/officeDocument/2006/relationships/slideLayout" Target="../slideLayouts/slideLayout67.xml"/><Relationship Id="rId29" Type="http://schemas.openxmlformats.org/officeDocument/2006/relationships/slideLayout" Target="../slideLayouts/slideLayout76.xml"/><Relationship Id="rId41" Type="http://schemas.openxmlformats.org/officeDocument/2006/relationships/slideLayout" Target="../slideLayouts/slideLayout88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32" Type="http://schemas.openxmlformats.org/officeDocument/2006/relationships/slideLayout" Target="../slideLayouts/slideLayout79.xml"/><Relationship Id="rId37" Type="http://schemas.openxmlformats.org/officeDocument/2006/relationships/slideLayout" Target="../slideLayouts/slideLayout84.xml"/><Relationship Id="rId40" Type="http://schemas.openxmlformats.org/officeDocument/2006/relationships/slideLayout" Target="../slideLayouts/slideLayout87.xml"/><Relationship Id="rId45" Type="http://schemas.openxmlformats.org/officeDocument/2006/relationships/theme" Target="../theme/theme4.xml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28" Type="http://schemas.openxmlformats.org/officeDocument/2006/relationships/slideLayout" Target="../slideLayouts/slideLayout75.xml"/><Relationship Id="rId36" Type="http://schemas.openxmlformats.org/officeDocument/2006/relationships/slideLayout" Target="../slideLayouts/slideLayout83.xml"/><Relationship Id="rId49" Type="http://schemas.openxmlformats.org/officeDocument/2006/relationships/image" Target="../media/image10.emf"/><Relationship Id="rId10" Type="http://schemas.openxmlformats.org/officeDocument/2006/relationships/slideLayout" Target="../slideLayouts/slideLayout57.xml"/><Relationship Id="rId19" Type="http://schemas.openxmlformats.org/officeDocument/2006/relationships/slideLayout" Target="../slideLayouts/slideLayout66.xml"/><Relationship Id="rId31" Type="http://schemas.openxmlformats.org/officeDocument/2006/relationships/slideLayout" Target="../slideLayouts/slideLayout78.xml"/><Relationship Id="rId44" Type="http://schemas.openxmlformats.org/officeDocument/2006/relationships/slideLayout" Target="../slideLayouts/slideLayout91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slideLayout" Target="../slideLayouts/slideLayout74.xml"/><Relationship Id="rId30" Type="http://schemas.openxmlformats.org/officeDocument/2006/relationships/slideLayout" Target="../slideLayouts/slideLayout77.xml"/><Relationship Id="rId35" Type="http://schemas.openxmlformats.org/officeDocument/2006/relationships/slideLayout" Target="../slideLayouts/slideLayout82.xml"/><Relationship Id="rId43" Type="http://schemas.openxmlformats.org/officeDocument/2006/relationships/slideLayout" Target="../slideLayouts/slideLayout90.xml"/><Relationship Id="rId48" Type="http://schemas.openxmlformats.org/officeDocument/2006/relationships/oleObject" Target="../embeddings/oleObject7.bin"/><Relationship Id="rId8" Type="http://schemas.openxmlformats.org/officeDocument/2006/relationships/slideLayout" Target="../slideLayouts/slideLayout5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slideLayout" Target="../slideLayouts/slideLayout104.xml"/><Relationship Id="rId18" Type="http://schemas.openxmlformats.org/officeDocument/2006/relationships/oleObject" Target="../embeddings/oleObject9.bin"/><Relationship Id="rId3" Type="http://schemas.openxmlformats.org/officeDocument/2006/relationships/slideLayout" Target="../slideLayouts/slideLayout94.xml"/><Relationship Id="rId7" Type="http://schemas.openxmlformats.org/officeDocument/2006/relationships/slideLayout" Target="../slideLayouts/slideLayout98.xml"/><Relationship Id="rId12" Type="http://schemas.openxmlformats.org/officeDocument/2006/relationships/slideLayout" Target="../slideLayouts/slideLayout103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93.xml"/><Relationship Id="rId16" Type="http://schemas.openxmlformats.org/officeDocument/2006/relationships/vmlDrawing" Target="../drawings/vmlDrawing9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5" Type="http://schemas.openxmlformats.org/officeDocument/2006/relationships/slideLayout" Target="../slideLayouts/slideLayout96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101.xml"/><Relationship Id="rId19" Type="http://schemas.openxmlformats.org/officeDocument/2006/relationships/image" Target="../media/image10.emf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slideLayout" Target="../slideLayouts/slideLayout10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slideLayout" Target="../slideLayouts/slideLayout118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108.xml"/><Relationship Id="rId21" Type="http://schemas.openxmlformats.org/officeDocument/2006/relationships/image" Target="../media/image46.png"/><Relationship Id="rId7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17.xml"/><Relationship Id="rId17" Type="http://schemas.openxmlformats.org/officeDocument/2006/relationships/vmlDrawing" Target="../drawings/vmlDrawing10.vml"/><Relationship Id="rId2" Type="http://schemas.openxmlformats.org/officeDocument/2006/relationships/slideLayout" Target="../slideLayouts/slideLayout107.xml"/><Relationship Id="rId16" Type="http://schemas.openxmlformats.org/officeDocument/2006/relationships/theme" Target="../theme/theme6.xml"/><Relationship Id="rId20" Type="http://schemas.openxmlformats.org/officeDocument/2006/relationships/image" Target="../media/image45.emf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5" Type="http://schemas.openxmlformats.org/officeDocument/2006/relationships/slideLayout" Target="../slideLayouts/slideLayout110.xml"/><Relationship Id="rId15" Type="http://schemas.openxmlformats.org/officeDocument/2006/relationships/slideLayout" Target="../slideLayouts/slideLayout120.xml"/><Relationship Id="rId10" Type="http://schemas.openxmlformats.org/officeDocument/2006/relationships/slideLayout" Target="../slideLayouts/slideLayout115.xml"/><Relationship Id="rId19" Type="http://schemas.openxmlformats.org/officeDocument/2006/relationships/oleObject" Target="../embeddings/oleObject10.bin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slideLayout" Target="../slideLayouts/slideLayout119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1.vml"/><Relationship Id="rId7" Type="http://schemas.openxmlformats.org/officeDocument/2006/relationships/image" Target="../media/image2.pn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121.xml"/><Relationship Id="rId6" Type="http://schemas.openxmlformats.org/officeDocument/2006/relationships/image" Target="../media/image51.emf"/><Relationship Id="rId5" Type="http://schemas.openxmlformats.org/officeDocument/2006/relationships/oleObject" Target="../embeddings/oleObject11.bin"/><Relationship Id="rId4" Type="http://schemas.openxmlformats.org/officeDocument/2006/relationships/tags" Target="../tags/tag1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9.xml"/><Relationship Id="rId13" Type="http://schemas.openxmlformats.org/officeDocument/2006/relationships/slideLayout" Target="../slideLayouts/slideLayout134.xml"/><Relationship Id="rId18" Type="http://schemas.openxmlformats.org/officeDocument/2006/relationships/vmlDrawing" Target="../drawings/vmlDrawing12.vml"/><Relationship Id="rId3" Type="http://schemas.openxmlformats.org/officeDocument/2006/relationships/slideLayout" Target="../slideLayouts/slideLayout124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128.xml"/><Relationship Id="rId12" Type="http://schemas.openxmlformats.org/officeDocument/2006/relationships/slideLayout" Target="../slideLayouts/slideLayout133.xml"/><Relationship Id="rId17" Type="http://schemas.openxmlformats.org/officeDocument/2006/relationships/theme" Target="../theme/theme8.xml"/><Relationship Id="rId2" Type="http://schemas.openxmlformats.org/officeDocument/2006/relationships/slideLayout" Target="../slideLayouts/slideLayout123.xml"/><Relationship Id="rId16" Type="http://schemas.openxmlformats.org/officeDocument/2006/relationships/slideLayout" Target="../slideLayouts/slideLayout137.xml"/><Relationship Id="rId20" Type="http://schemas.openxmlformats.org/officeDocument/2006/relationships/oleObject" Target="../embeddings/oleObject12.bin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126.xml"/><Relationship Id="rId15" Type="http://schemas.openxmlformats.org/officeDocument/2006/relationships/slideLayout" Target="../slideLayouts/slideLayout136.xml"/><Relationship Id="rId10" Type="http://schemas.openxmlformats.org/officeDocument/2006/relationships/slideLayout" Target="../slideLayouts/slideLayout131.xml"/><Relationship Id="rId19" Type="http://schemas.openxmlformats.org/officeDocument/2006/relationships/tags" Target="../tags/tag16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Relationship Id="rId14" Type="http://schemas.openxmlformats.org/officeDocument/2006/relationships/slideLayout" Target="../slideLayouts/slideLayout135.xml"/><Relationship Id="rId22" Type="http://schemas.openxmlformats.org/officeDocument/2006/relationships/image" Target="../media/image2.png"/></Relationships>
</file>

<file path=ppt/slideMasters/_rels/slideMaster9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63.xml"/><Relationship Id="rId21" Type="http://schemas.openxmlformats.org/officeDocument/2006/relationships/slideLayout" Target="../slideLayouts/slideLayout158.xml"/><Relationship Id="rId42" Type="http://schemas.openxmlformats.org/officeDocument/2006/relationships/slideLayout" Target="../slideLayouts/slideLayout179.xml"/><Relationship Id="rId47" Type="http://schemas.openxmlformats.org/officeDocument/2006/relationships/slideLayout" Target="../slideLayouts/slideLayout184.xml"/><Relationship Id="rId63" Type="http://schemas.openxmlformats.org/officeDocument/2006/relationships/slideLayout" Target="../slideLayouts/slideLayout200.xml"/><Relationship Id="rId68" Type="http://schemas.openxmlformats.org/officeDocument/2006/relationships/slideLayout" Target="../slideLayouts/slideLayout205.xml"/><Relationship Id="rId84" Type="http://schemas.openxmlformats.org/officeDocument/2006/relationships/slideLayout" Target="../slideLayouts/slideLayout221.xml"/><Relationship Id="rId89" Type="http://schemas.openxmlformats.org/officeDocument/2006/relationships/slideLayout" Target="../slideLayouts/slideLayout226.xml"/><Relationship Id="rId7" Type="http://schemas.openxmlformats.org/officeDocument/2006/relationships/slideLayout" Target="../slideLayouts/slideLayout144.xml"/><Relationship Id="rId71" Type="http://schemas.openxmlformats.org/officeDocument/2006/relationships/slideLayout" Target="../slideLayouts/slideLayout208.xml"/><Relationship Id="rId92" Type="http://schemas.openxmlformats.org/officeDocument/2006/relationships/slideLayout" Target="../slideLayouts/slideLayout229.xml"/><Relationship Id="rId2" Type="http://schemas.openxmlformats.org/officeDocument/2006/relationships/slideLayout" Target="../slideLayouts/slideLayout139.xml"/><Relationship Id="rId16" Type="http://schemas.openxmlformats.org/officeDocument/2006/relationships/slideLayout" Target="../slideLayouts/slideLayout153.xml"/><Relationship Id="rId29" Type="http://schemas.openxmlformats.org/officeDocument/2006/relationships/slideLayout" Target="../slideLayouts/slideLayout166.xml"/><Relationship Id="rId11" Type="http://schemas.openxmlformats.org/officeDocument/2006/relationships/slideLayout" Target="../slideLayouts/slideLayout148.xml"/><Relationship Id="rId24" Type="http://schemas.openxmlformats.org/officeDocument/2006/relationships/slideLayout" Target="../slideLayouts/slideLayout161.xml"/><Relationship Id="rId32" Type="http://schemas.openxmlformats.org/officeDocument/2006/relationships/slideLayout" Target="../slideLayouts/slideLayout169.xml"/><Relationship Id="rId37" Type="http://schemas.openxmlformats.org/officeDocument/2006/relationships/slideLayout" Target="../slideLayouts/slideLayout174.xml"/><Relationship Id="rId40" Type="http://schemas.openxmlformats.org/officeDocument/2006/relationships/slideLayout" Target="../slideLayouts/slideLayout177.xml"/><Relationship Id="rId45" Type="http://schemas.openxmlformats.org/officeDocument/2006/relationships/slideLayout" Target="../slideLayouts/slideLayout182.xml"/><Relationship Id="rId53" Type="http://schemas.openxmlformats.org/officeDocument/2006/relationships/slideLayout" Target="../slideLayouts/slideLayout190.xml"/><Relationship Id="rId58" Type="http://schemas.openxmlformats.org/officeDocument/2006/relationships/slideLayout" Target="../slideLayouts/slideLayout195.xml"/><Relationship Id="rId66" Type="http://schemas.openxmlformats.org/officeDocument/2006/relationships/slideLayout" Target="../slideLayouts/slideLayout203.xml"/><Relationship Id="rId74" Type="http://schemas.openxmlformats.org/officeDocument/2006/relationships/slideLayout" Target="../slideLayouts/slideLayout211.xml"/><Relationship Id="rId79" Type="http://schemas.openxmlformats.org/officeDocument/2006/relationships/slideLayout" Target="../slideLayouts/slideLayout216.xml"/><Relationship Id="rId87" Type="http://schemas.openxmlformats.org/officeDocument/2006/relationships/slideLayout" Target="../slideLayouts/slideLayout224.xml"/><Relationship Id="rId102" Type="http://schemas.openxmlformats.org/officeDocument/2006/relationships/vmlDrawing" Target="../drawings/vmlDrawing15.vml"/><Relationship Id="rId5" Type="http://schemas.openxmlformats.org/officeDocument/2006/relationships/slideLayout" Target="../slideLayouts/slideLayout142.xml"/><Relationship Id="rId61" Type="http://schemas.openxmlformats.org/officeDocument/2006/relationships/slideLayout" Target="../slideLayouts/slideLayout198.xml"/><Relationship Id="rId82" Type="http://schemas.openxmlformats.org/officeDocument/2006/relationships/slideLayout" Target="../slideLayouts/slideLayout219.xml"/><Relationship Id="rId90" Type="http://schemas.openxmlformats.org/officeDocument/2006/relationships/slideLayout" Target="../slideLayouts/slideLayout227.xml"/><Relationship Id="rId95" Type="http://schemas.openxmlformats.org/officeDocument/2006/relationships/slideLayout" Target="../slideLayouts/slideLayout232.xml"/><Relationship Id="rId19" Type="http://schemas.openxmlformats.org/officeDocument/2006/relationships/slideLayout" Target="../slideLayouts/slideLayout156.xml"/><Relationship Id="rId14" Type="http://schemas.openxmlformats.org/officeDocument/2006/relationships/slideLayout" Target="../slideLayouts/slideLayout151.xml"/><Relationship Id="rId22" Type="http://schemas.openxmlformats.org/officeDocument/2006/relationships/slideLayout" Target="../slideLayouts/slideLayout159.xml"/><Relationship Id="rId27" Type="http://schemas.openxmlformats.org/officeDocument/2006/relationships/slideLayout" Target="../slideLayouts/slideLayout164.xml"/><Relationship Id="rId30" Type="http://schemas.openxmlformats.org/officeDocument/2006/relationships/slideLayout" Target="../slideLayouts/slideLayout167.xml"/><Relationship Id="rId35" Type="http://schemas.openxmlformats.org/officeDocument/2006/relationships/slideLayout" Target="../slideLayouts/slideLayout172.xml"/><Relationship Id="rId43" Type="http://schemas.openxmlformats.org/officeDocument/2006/relationships/slideLayout" Target="../slideLayouts/slideLayout180.xml"/><Relationship Id="rId48" Type="http://schemas.openxmlformats.org/officeDocument/2006/relationships/slideLayout" Target="../slideLayouts/slideLayout185.xml"/><Relationship Id="rId56" Type="http://schemas.openxmlformats.org/officeDocument/2006/relationships/slideLayout" Target="../slideLayouts/slideLayout193.xml"/><Relationship Id="rId64" Type="http://schemas.openxmlformats.org/officeDocument/2006/relationships/slideLayout" Target="../slideLayouts/slideLayout201.xml"/><Relationship Id="rId69" Type="http://schemas.openxmlformats.org/officeDocument/2006/relationships/slideLayout" Target="../slideLayouts/slideLayout206.xml"/><Relationship Id="rId77" Type="http://schemas.openxmlformats.org/officeDocument/2006/relationships/slideLayout" Target="../slideLayouts/slideLayout214.xml"/><Relationship Id="rId100" Type="http://schemas.openxmlformats.org/officeDocument/2006/relationships/slideLayout" Target="../slideLayouts/slideLayout237.xml"/><Relationship Id="rId105" Type="http://schemas.openxmlformats.org/officeDocument/2006/relationships/image" Target="../media/image1.emf"/><Relationship Id="rId8" Type="http://schemas.openxmlformats.org/officeDocument/2006/relationships/slideLayout" Target="../slideLayouts/slideLayout145.xml"/><Relationship Id="rId51" Type="http://schemas.openxmlformats.org/officeDocument/2006/relationships/slideLayout" Target="../slideLayouts/slideLayout188.xml"/><Relationship Id="rId72" Type="http://schemas.openxmlformats.org/officeDocument/2006/relationships/slideLayout" Target="../slideLayouts/slideLayout209.xml"/><Relationship Id="rId80" Type="http://schemas.openxmlformats.org/officeDocument/2006/relationships/slideLayout" Target="../slideLayouts/slideLayout217.xml"/><Relationship Id="rId85" Type="http://schemas.openxmlformats.org/officeDocument/2006/relationships/slideLayout" Target="../slideLayouts/slideLayout222.xml"/><Relationship Id="rId93" Type="http://schemas.openxmlformats.org/officeDocument/2006/relationships/slideLayout" Target="../slideLayouts/slideLayout230.xml"/><Relationship Id="rId98" Type="http://schemas.openxmlformats.org/officeDocument/2006/relationships/slideLayout" Target="../slideLayouts/slideLayout235.xml"/><Relationship Id="rId3" Type="http://schemas.openxmlformats.org/officeDocument/2006/relationships/slideLayout" Target="../slideLayouts/slideLayout140.xml"/><Relationship Id="rId12" Type="http://schemas.openxmlformats.org/officeDocument/2006/relationships/slideLayout" Target="../slideLayouts/slideLayout149.xml"/><Relationship Id="rId17" Type="http://schemas.openxmlformats.org/officeDocument/2006/relationships/slideLayout" Target="../slideLayouts/slideLayout154.xml"/><Relationship Id="rId25" Type="http://schemas.openxmlformats.org/officeDocument/2006/relationships/slideLayout" Target="../slideLayouts/slideLayout162.xml"/><Relationship Id="rId33" Type="http://schemas.openxmlformats.org/officeDocument/2006/relationships/slideLayout" Target="../slideLayouts/slideLayout170.xml"/><Relationship Id="rId38" Type="http://schemas.openxmlformats.org/officeDocument/2006/relationships/slideLayout" Target="../slideLayouts/slideLayout175.xml"/><Relationship Id="rId46" Type="http://schemas.openxmlformats.org/officeDocument/2006/relationships/slideLayout" Target="../slideLayouts/slideLayout183.xml"/><Relationship Id="rId59" Type="http://schemas.openxmlformats.org/officeDocument/2006/relationships/slideLayout" Target="../slideLayouts/slideLayout196.xml"/><Relationship Id="rId67" Type="http://schemas.openxmlformats.org/officeDocument/2006/relationships/slideLayout" Target="../slideLayouts/slideLayout204.xml"/><Relationship Id="rId103" Type="http://schemas.openxmlformats.org/officeDocument/2006/relationships/tags" Target="../tags/tag19.xml"/><Relationship Id="rId20" Type="http://schemas.openxmlformats.org/officeDocument/2006/relationships/slideLayout" Target="../slideLayouts/slideLayout157.xml"/><Relationship Id="rId41" Type="http://schemas.openxmlformats.org/officeDocument/2006/relationships/slideLayout" Target="../slideLayouts/slideLayout178.xml"/><Relationship Id="rId54" Type="http://schemas.openxmlformats.org/officeDocument/2006/relationships/slideLayout" Target="../slideLayouts/slideLayout191.xml"/><Relationship Id="rId62" Type="http://schemas.openxmlformats.org/officeDocument/2006/relationships/slideLayout" Target="../slideLayouts/slideLayout199.xml"/><Relationship Id="rId70" Type="http://schemas.openxmlformats.org/officeDocument/2006/relationships/slideLayout" Target="../slideLayouts/slideLayout207.xml"/><Relationship Id="rId75" Type="http://schemas.openxmlformats.org/officeDocument/2006/relationships/slideLayout" Target="../slideLayouts/slideLayout212.xml"/><Relationship Id="rId83" Type="http://schemas.openxmlformats.org/officeDocument/2006/relationships/slideLayout" Target="../slideLayouts/slideLayout220.xml"/><Relationship Id="rId88" Type="http://schemas.openxmlformats.org/officeDocument/2006/relationships/slideLayout" Target="../slideLayouts/slideLayout225.xml"/><Relationship Id="rId91" Type="http://schemas.openxmlformats.org/officeDocument/2006/relationships/slideLayout" Target="../slideLayouts/slideLayout228.xml"/><Relationship Id="rId96" Type="http://schemas.openxmlformats.org/officeDocument/2006/relationships/slideLayout" Target="../slideLayouts/slideLayout233.xml"/><Relationship Id="rId1" Type="http://schemas.openxmlformats.org/officeDocument/2006/relationships/slideLayout" Target="../slideLayouts/slideLayout138.xml"/><Relationship Id="rId6" Type="http://schemas.openxmlformats.org/officeDocument/2006/relationships/slideLayout" Target="../slideLayouts/slideLayout143.xml"/><Relationship Id="rId15" Type="http://schemas.openxmlformats.org/officeDocument/2006/relationships/slideLayout" Target="../slideLayouts/slideLayout152.xml"/><Relationship Id="rId23" Type="http://schemas.openxmlformats.org/officeDocument/2006/relationships/slideLayout" Target="../slideLayouts/slideLayout160.xml"/><Relationship Id="rId28" Type="http://schemas.openxmlformats.org/officeDocument/2006/relationships/slideLayout" Target="../slideLayouts/slideLayout165.xml"/><Relationship Id="rId36" Type="http://schemas.openxmlformats.org/officeDocument/2006/relationships/slideLayout" Target="../slideLayouts/slideLayout173.xml"/><Relationship Id="rId49" Type="http://schemas.openxmlformats.org/officeDocument/2006/relationships/slideLayout" Target="../slideLayouts/slideLayout186.xml"/><Relationship Id="rId57" Type="http://schemas.openxmlformats.org/officeDocument/2006/relationships/slideLayout" Target="../slideLayouts/slideLayout194.xml"/><Relationship Id="rId106" Type="http://schemas.openxmlformats.org/officeDocument/2006/relationships/image" Target="../media/image33.gif"/><Relationship Id="rId10" Type="http://schemas.openxmlformats.org/officeDocument/2006/relationships/slideLayout" Target="../slideLayouts/slideLayout147.xml"/><Relationship Id="rId31" Type="http://schemas.openxmlformats.org/officeDocument/2006/relationships/slideLayout" Target="../slideLayouts/slideLayout168.xml"/><Relationship Id="rId44" Type="http://schemas.openxmlformats.org/officeDocument/2006/relationships/slideLayout" Target="../slideLayouts/slideLayout181.xml"/><Relationship Id="rId52" Type="http://schemas.openxmlformats.org/officeDocument/2006/relationships/slideLayout" Target="../slideLayouts/slideLayout189.xml"/><Relationship Id="rId60" Type="http://schemas.openxmlformats.org/officeDocument/2006/relationships/slideLayout" Target="../slideLayouts/slideLayout197.xml"/><Relationship Id="rId65" Type="http://schemas.openxmlformats.org/officeDocument/2006/relationships/slideLayout" Target="../slideLayouts/slideLayout202.xml"/><Relationship Id="rId73" Type="http://schemas.openxmlformats.org/officeDocument/2006/relationships/slideLayout" Target="../slideLayouts/slideLayout210.xml"/><Relationship Id="rId78" Type="http://schemas.openxmlformats.org/officeDocument/2006/relationships/slideLayout" Target="../slideLayouts/slideLayout215.xml"/><Relationship Id="rId81" Type="http://schemas.openxmlformats.org/officeDocument/2006/relationships/slideLayout" Target="../slideLayouts/slideLayout218.xml"/><Relationship Id="rId86" Type="http://schemas.openxmlformats.org/officeDocument/2006/relationships/slideLayout" Target="../slideLayouts/slideLayout223.xml"/><Relationship Id="rId94" Type="http://schemas.openxmlformats.org/officeDocument/2006/relationships/slideLayout" Target="../slideLayouts/slideLayout231.xml"/><Relationship Id="rId99" Type="http://schemas.openxmlformats.org/officeDocument/2006/relationships/slideLayout" Target="../slideLayouts/slideLayout236.xml"/><Relationship Id="rId101" Type="http://schemas.openxmlformats.org/officeDocument/2006/relationships/theme" Target="../theme/theme9.xml"/><Relationship Id="rId4" Type="http://schemas.openxmlformats.org/officeDocument/2006/relationships/slideLayout" Target="../slideLayouts/slideLayout141.xml"/><Relationship Id="rId9" Type="http://schemas.openxmlformats.org/officeDocument/2006/relationships/slideLayout" Target="../slideLayouts/slideLayout146.xml"/><Relationship Id="rId13" Type="http://schemas.openxmlformats.org/officeDocument/2006/relationships/slideLayout" Target="../slideLayouts/slideLayout150.xml"/><Relationship Id="rId18" Type="http://schemas.openxmlformats.org/officeDocument/2006/relationships/slideLayout" Target="../slideLayouts/slideLayout155.xml"/><Relationship Id="rId39" Type="http://schemas.openxmlformats.org/officeDocument/2006/relationships/slideLayout" Target="../slideLayouts/slideLayout176.xml"/><Relationship Id="rId34" Type="http://schemas.openxmlformats.org/officeDocument/2006/relationships/slideLayout" Target="../slideLayouts/slideLayout171.xml"/><Relationship Id="rId50" Type="http://schemas.openxmlformats.org/officeDocument/2006/relationships/slideLayout" Target="../slideLayouts/slideLayout187.xml"/><Relationship Id="rId55" Type="http://schemas.openxmlformats.org/officeDocument/2006/relationships/slideLayout" Target="../slideLayouts/slideLayout192.xml"/><Relationship Id="rId76" Type="http://schemas.openxmlformats.org/officeDocument/2006/relationships/slideLayout" Target="../slideLayouts/slideLayout213.xml"/><Relationship Id="rId97" Type="http://schemas.openxmlformats.org/officeDocument/2006/relationships/slideLayout" Target="../slideLayouts/slideLayout234.xml"/><Relationship Id="rId104" Type="http://schemas.openxmlformats.org/officeDocument/2006/relationships/oleObject" Target="../embeddings/oleObject15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1617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0" name="think-cell Slide" r:id="rId19" imgW="216" imgH="216" progId="TCLayout.ActiveDocument.1">
                  <p:embed/>
                </p:oleObj>
              </mc:Choice>
              <mc:Fallback>
                <p:oleObj name="think-cell Slide" r:id="rId19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617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11560" y="465672"/>
            <a:ext cx="8075240" cy="539967"/>
          </a:xfrm>
          <a:prstGeom prst="rect">
            <a:avLst/>
          </a:prstGeom>
        </p:spPr>
        <p:txBody>
          <a:bodyPr vert="horz" lIns="91186" tIns="45588" rIns="91186" bIns="45588" rtlCol="0" anchor="b">
            <a:no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11229" y="1059939"/>
            <a:ext cx="8137525" cy="3374082"/>
          </a:xfrm>
          <a:prstGeom prst="rect">
            <a:avLst/>
          </a:prstGeom>
        </p:spPr>
        <p:txBody>
          <a:bodyPr vert="horz" lIns="91186" tIns="45588" rIns="91186" bIns="45588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13" name="Bilde 12" descr="Logo-hvit.png"/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7686" y="4659005"/>
            <a:ext cx="1171312" cy="22459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943805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</p:sldLayoutIdLst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hf sldNum="0" hdr="0" ftr="0" dt="0"/>
  <p:txStyles>
    <p:titleStyle>
      <a:lvl1pPr algn="l" defTabSz="683886" rtl="0" eaLnBrk="1" latinLnBrk="0" hangingPunct="1">
        <a:spcBef>
          <a:spcPct val="0"/>
        </a:spcBef>
        <a:buNone/>
        <a:defRPr sz="2175" b="1" kern="120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01840" indent="-201840" algn="l" defTabSz="683886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135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403688" indent="-201840" algn="l" defTabSz="683886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−"/>
        <a:defRPr sz="1125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605524" indent="-201840" algn="l" defTabSz="683886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−"/>
        <a:defRPr sz="9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807368" indent="-201840" algn="l" defTabSz="683886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−"/>
        <a:defRPr sz="825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003273" indent="-195908" algn="l" defTabSz="683886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−"/>
        <a:defRPr sz="825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1880686" indent="-170972" algn="l" defTabSz="68388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2633" indent="-170972" algn="l" defTabSz="68388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64573" indent="-170972" algn="l" defTabSz="68388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06519" indent="-170972" algn="l" defTabSz="68388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388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1941" algn="l" defTabSz="68388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3886" algn="l" defTabSz="68388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5830" algn="l" defTabSz="68388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67774" algn="l" defTabSz="68388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09716" algn="l" defTabSz="68388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1661" algn="l" defTabSz="68388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3602" algn="l" defTabSz="68388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35546" algn="l" defTabSz="683886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1615" y="1192"/>
          <a:ext cx="1587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49" name="think-cell Slide" r:id="rId18" imgW="216" imgH="216" progId="TCLayout.ActiveDocument.1">
                  <p:embed/>
                </p:oleObj>
              </mc:Choice>
              <mc:Fallback>
                <p:oleObj name="think-cell Slide" r:id="rId18" imgW="216" imgH="2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615" y="1192"/>
                        <a:ext cx="1587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11560" y="465672"/>
            <a:ext cx="8075240" cy="539966"/>
          </a:xfrm>
          <a:prstGeom prst="rect">
            <a:avLst/>
          </a:prstGeom>
        </p:spPr>
        <p:txBody>
          <a:bodyPr vert="horz" lIns="91186" tIns="45588" rIns="91186" bIns="45588" rtlCol="0" anchor="b">
            <a:no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11227" y="1059939"/>
            <a:ext cx="8137525" cy="3374082"/>
          </a:xfrm>
          <a:prstGeom prst="rect">
            <a:avLst/>
          </a:prstGeom>
        </p:spPr>
        <p:txBody>
          <a:bodyPr vert="horz" lIns="91186" tIns="45588" rIns="91186" bIns="45588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13" name="Bilde 12" descr="Logo-hvit.png"/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7687" y="4659005"/>
            <a:ext cx="1171312" cy="22459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96507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3" r:id="rId1"/>
    <p:sldLayoutId id="2147484184" r:id="rId2"/>
    <p:sldLayoutId id="2147484185" r:id="rId3"/>
    <p:sldLayoutId id="2147484186" r:id="rId4"/>
    <p:sldLayoutId id="2147484187" r:id="rId5"/>
    <p:sldLayoutId id="2147484188" r:id="rId6"/>
    <p:sldLayoutId id="2147484189" r:id="rId7"/>
    <p:sldLayoutId id="2147484190" r:id="rId8"/>
    <p:sldLayoutId id="2147484191" r:id="rId9"/>
    <p:sldLayoutId id="2147484192" r:id="rId10"/>
    <p:sldLayoutId id="2147484193" r:id="rId11"/>
    <p:sldLayoutId id="2147484194" r:id="rId12"/>
    <p:sldLayoutId id="2147484195" r:id="rId13"/>
    <p:sldLayoutId id="2147484196" r:id="rId14"/>
  </p:sldLayoutIdLst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hf sldNum="0" hdr="0" ftr="0" dt="0"/>
  <p:txStyles>
    <p:titleStyle>
      <a:lvl1pPr algn="l" defTabSz="911825" rtl="0" eaLnBrk="1" latinLnBrk="0" hangingPunct="1">
        <a:spcBef>
          <a:spcPct val="0"/>
        </a:spcBef>
        <a:buNone/>
        <a:defRPr sz="2900" b="1" kern="120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69114" indent="-269114" algn="l" defTabSz="911825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538237" indent="-269114" algn="l" defTabSz="911825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−"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807345" indent="-269114" algn="l" defTabSz="911825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−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076463" indent="-269114" algn="l" defTabSz="911825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−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337663" indent="-261203" algn="l" defTabSz="911825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−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07519" indent="-227957" algn="l" defTabSz="91182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3437" indent="-227957" algn="l" defTabSz="91182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19345" indent="-227957" algn="l" defTabSz="91182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5262" indent="-227957" algn="l" defTabSz="91182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18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909" algn="l" defTabSz="9118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825" algn="l" defTabSz="9118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739" algn="l" defTabSz="9118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654" algn="l" defTabSz="9118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564" algn="l" defTabSz="9118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5480" algn="l" defTabSz="9118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1390" algn="l" defTabSz="9118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7304" algn="l" defTabSz="9118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/>
          </p:nvPr>
        </p:nvGraphicFramePr>
        <p:xfrm>
          <a:off x="159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97" name="think-cell Slide" r:id="rId21" imgW="216" imgH="216" progId="TCLayout.ActiveDocument.1">
                  <p:embed/>
                </p:oleObj>
              </mc:Choice>
              <mc:Fallback>
                <p:oleObj name="think-cell Slide" r:id="rId21" imgW="216" imgH="216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91" y="159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11560" y="465662"/>
            <a:ext cx="8075240" cy="539967"/>
          </a:xfrm>
          <a:prstGeom prst="rect">
            <a:avLst/>
          </a:prstGeom>
        </p:spPr>
        <p:txBody>
          <a:bodyPr vert="horz" lIns="91402" tIns="45699" rIns="91402" bIns="45699" rtlCol="0" anchor="b">
            <a:no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11196" y="1059913"/>
            <a:ext cx="8137525" cy="3374082"/>
          </a:xfrm>
          <a:prstGeom prst="rect">
            <a:avLst/>
          </a:prstGeom>
        </p:spPr>
        <p:txBody>
          <a:bodyPr vert="horz" lIns="91402" tIns="45699" rIns="91402" bIns="45699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1115616" y="4680104"/>
            <a:ext cx="1008112" cy="219233"/>
          </a:xfrm>
          <a:prstGeom prst="rect">
            <a:avLst/>
          </a:prstGeom>
        </p:spPr>
        <p:txBody>
          <a:bodyPr vert="horz" lIns="91402" tIns="45699" rIns="91402" bIns="45699" rtlCol="0" anchor="ctr"/>
          <a:lstStyle>
            <a:lvl1pPr marL="0" algn="l" defTabSz="914017" rtl="0" eaLnBrk="1" latinLnBrk="0" hangingPunct="1">
              <a:defRPr lang="nb-NO" sz="1200" kern="120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2B1CD9C9-411E-4E6D-9290-2C782794DB41}" type="datetime1">
              <a:rPr lang="en-US">
                <a:solidFill>
                  <a:srgbClr val="32374B"/>
                </a:solidFill>
              </a:rPr>
              <a:pPr/>
              <a:t>9/21/2018</a:t>
            </a:fld>
            <a:endParaRPr dirty="0">
              <a:solidFill>
                <a:srgbClr val="32374B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2195736" y="4680104"/>
            <a:ext cx="5184576" cy="219233"/>
          </a:xfrm>
          <a:prstGeom prst="rect">
            <a:avLst/>
          </a:prstGeom>
        </p:spPr>
        <p:txBody>
          <a:bodyPr vert="horz" lIns="91402" tIns="45699" rIns="91402" bIns="45699" rtlCol="0" anchor="ctr"/>
          <a:lstStyle>
            <a:lvl1pPr marL="0" algn="l" defTabSz="914017" rtl="0" eaLnBrk="1" latinLnBrk="0" hangingPunct="1">
              <a:defRPr lang="nb-NO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endParaRPr>
              <a:solidFill>
                <a:srgbClr val="32374B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11188" y="4679429"/>
            <a:ext cx="405408" cy="216091"/>
          </a:xfrm>
          <a:prstGeom prst="rect">
            <a:avLst/>
          </a:prstGeom>
        </p:spPr>
        <p:txBody>
          <a:bodyPr vert="horz" lIns="91402" tIns="45699" rIns="91402" bIns="45699" rtlCol="0" anchor="ctr"/>
          <a:lstStyle>
            <a:lvl1pPr algn="l">
              <a:defRPr sz="1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defTabSz="914017"/>
            <a:fld id="{7B785221-A51B-4371-B866-038075B34EEB}" type="slidenum">
              <a:rPr lang="nb-NO" smtClean="0">
                <a:solidFill>
                  <a:srgbClr val="32374B"/>
                </a:solidFill>
              </a:rPr>
              <a:pPr defTabSz="914017"/>
              <a:t>‹#›</a:t>
            </a:fld>
            <a:endParaRPr lang="nb-NO" dirty="0">
              <a:solidFill>
                <a:srgbClr val="32374B"/>
              </a:solidFill>
            </a:endParaRPr>
          </a:p>
        </p:txBody>
      </p:sp>
      <p:pic>
        <p:nvPicPr>
          <p:cNvPr id="13" name="Bilde 12" descr="Logo-hvit.png"/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7686" y="4659005"/>
            <a:ext cx="1171312" cy="22459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973056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8" r:id="rId1"/>
    <p:sldLayoutId id="2147484199" r:id="rId2"/>
    <p:sldLayoutId id="2147484200" r:id="rId3"/>
    <p:sldLayoutId id="2147484201" r:id="rId4"/>
    <p:sldLayoutId id="2147484202" r:id="rId5"/>
    <p:sldLayoutId id="2147484203" r:id="rId6"/>
    <p:sldLayoutId id="2147484204" r:id="rId7"/>
    <p:sldLayoutId id="2147484205" r:id="rId8"/>
    <p:sldLayoutId id="2147484206" r:id="rId9"/>
    <p:sldLayoutId id="2147484207" r:id="rId10"/>
    <p:sldLayoutId id="2147484208" r:id="rId11"/>
    <p:sldLayoutId id="2147484209" r:id="rId12"/>
    <p:sldLayoutId id="2147484210" r:id="rId13"/>
    <p:sldLayoutId id="2147484211" r:id="rId14"/>
    <p:sldLayoutId id="2147484212" r:id="rId15"/>
    <p:sldLayoutId id="2147484213" r:id="rId16"/>
    <p:sldLayoutId id="2147484214" r:id="rId17"/>
  </p:sldLayoutIdLst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hf sldNum="0" hdr="0" ftr="0" dt="0"/>
  <p:txStyles>
    <p:titleStyle>
      <a:lvl1pPr algn="l" defTabSz="914017" rtl="0" eaLnBrk="1" latinLnBrk="0" hangingPunct="1">
        <a:spcBef>
          <a:spcPct val="0"/>
        </a:spcBef>
        <a:buNone/>
        <a:defRPr sz="2900" b="1" kern="120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69762" indent="-269762" algn="l" defTabSz="914017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539523" indent="-269762" algn="l" defTabSz="914017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−"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809285" indent="-269762" algn="l" defTabSz="914017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−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079047" indent="-269762" algn="l" defTabSz="914017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−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340874" indent="-261828" algn="l" defTabSz="914017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−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3545" indent="-228504" algn="l" defTabSz="914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553" indent="-228504" algn="l" defTabSz="914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561" indent="-228504" algn="l" defTabSz="914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569" indent="-228504" algn="l" defTabSz="914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08" algn="l" defTabSz="914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17" algn="l" defTabSz="914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25" algn="l" defTabSz="914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32" algn="l" defTabSz="914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40" algn="l" defTabSz="914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049" algn="l" defTabSz="914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057" algn="l" defTabSz="914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064" algn="l" defTabSz="914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/>
          </p:nvPr>
        </p:nvGraphicFramePr>
        <p:xfrm>
          <a:off x="1612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2" name="think-cell Slide" r:id="rId20" imgW="216" imgH="216" progId="TCLayout.ActiveDocument.1">
                  <p:embed/>
                </p:oleObj>
              </mc:Choice>
              <mc:Fallback>
                <p:oleObj name="think-cell Slide" r:id="rId20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612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11560" y="465660"/>
            <a:ext cx="8075240" cy="539967"/>
          </a:xfrm>
          <a:prstGeom prst="rect">
            <a:avLst/>
          </a:prstGeom>
        </p:spPr>
        <p:txBody>
          <a:bodyPr vert="horz" lIns="91336" tIns="45663" rIns="91336" bIns="45663" rtlCol="0" anchor="b">
            <a:no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11210" y="1059912"/>
            <a:ext cx="8137525" cy="3374082"/>
          </a:xfrm>
          <a:prstGeom prst="rect">
            <a:avLst/>
          </a:prstGeom>
        </p:spPr>
        <p:txBody>
          <a:bodyPr vert="horz" lIns="91336" tIns="45663" rIns="91336" bIns="45663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1115616" y="4680103"/>
            <a:ext cx="1008112" cy="219233"/>
          </a:xfrm>
          <a:prstGeom prst="rect">
            <a:avLst/>
          </a:prstGeom>
        </p:spPr>
        <p:txBody>
          <a:bodyPr vert="horz" lIns="91336" tIns="45663" rIns="91336" bIns="45663" rtlCol="0" anchor="ctr"/>
          <a:lstStyle>
            <a:lvl1pPr marL="0" algn="l" defTabSz="913363" rtl="0" eaLnBrk="1" latinLnBrk="0" hangingPunct="1">
              <a:defRPr lang="nb-NO" sz="1200" kern="120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fld id="{2B1CD9C9-411E-4E6D-9290-2C782794DB41}" type="datetime1">
              <a:rPr lang="en-US">
                <a:solidFill>
                  <a:srgbClr val="32374B"/>
                </a:solidFill>
              </a:rPr>
              <a:pPr/>
              <a:t>9/21/2018</a:t>
            </a:fld>
            <a:endParaRPr dirty="0">
              <a:solidFill>
                <a:srgbClr val="32374B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2195736" y="4680103"/>
            <a:ext cx="5184576" cy="219233"/>
          </a:xfrm>
          <a:prstGeom prst="rect">
            <a:avLst/>
          </a:prstGeom>
        </p:spPr>
        <p:txBody>
          <a:bodyPr vert="horz" lIns="91336" tIns="45663" rIns="91336" bIns="45663" rtlCol="0" anchor="ctr"/>
          <a:lstStyle>
            <a:lvl1pPr marL="0" algn="l" defTabSz="913363" rtl="0" eaLnBrk="1" latinLnBrk="0" hangingPunct="1">
              <a:defRPr lang="nb-NO" sz="1200" kern="1200" dirty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</a:lstStyle>
          <a:p>
            <a:endParaRPr>
              <a:solidFill>
                <a:srgbClr val="32374B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11188" y="4679428"/>
            <a:ext cx="405408" cy="216091"/>
          </a:xfrm>
          <a:prstGeom prst="rect">
            <a:avLst/>
          </a:prstGeom>
        </p:spPr>
        <p:txBody>
          <a:bodyPr vert="horz" lIns="91336" tIns="45663" rIns="91336" bIns="45663" rtlCol="0" anchor="ctr"/>
          <a:lstStyle>
            <a:lvl1pPr algn="l">
              <a:defRPr sz="1200">
                <a:solidFill>
                  <a:schemeClr val="tx2"/>
                </a:solidFill>
                <a:latin typeface="Arial" panose="020B0604020202020204" pitchFamily="34" charset="0"/>
              </a:defRPr>
            </a:lvl1pPr>
          </a:lstStyle>
          <a:p>
            <a:pPr defTabSz="913363"/>
            <a:fld id="{7B785221-A51B-4371-B866-038075B34EEB}" type="slidenum">
              <a:rPr lang="nb-NO" smtClean="0">
                <a:solidFill>
                  <a:srgbClr val="32374B"/>
                </a:solidFill>
              </a:rPr>
              <a:pPr defTabSz="913363"/>
              <a:t>‹#›</a:t>
            </a:fld>
            <a:endParaRPr lang="nb-NO" dirty="0">
              <a:solidFill>
                <a:srgbClr val="32374B"/>
              </a:solidFill>
            </a:endParaRPr>
          </a:p>
        </p:txBody>
      </p:sp>
      <p:pic>
        <p:nvPicPr>
          <p:cNvPr id="13" name="Bilde 12" descr="Logo-hvit.png"/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7686" y="4659005"/>
            <a:ext cx="1171312" cy="22459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215101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  <p:sldLayoutId id="2147483817" r:id="rId8"/>
    <p:sldLayoutId id="2147483818" r:id="rId9"/>
    <p:sldLayoutId id="2147483819" r:id="rId10"/>
    <p:sldLayoutId id="2147483820" r:id="rId11"/>
    <p:sldLayoutId id="2147483821" r:id="rId12"/>
    <p:sldLayoutId id="2147483822" r:id="rId13"/>
    <p:sldLayoutId id="2147483823" r:id="rId14"/>
    <p:sldLayoutId id="2147483825" r:id="rId15"/>
    <p:sldLayoutId id="2147483826" r:id="rId16"/>
  </p:sldLayoutIdLst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hf sldNum="0" hdr="0" ftr="0" dt="0"/>
  <p:txStyles>
    <p:titleStyle>
      <a:lvl1pPr algn="l" defTabSz="913363" rtl="0" eaLnBrk="1" latinLnBrk="0" hangingPunct="1">
        <a:spcBef>
          <a:spcPct val="0"/>
        </a:spcBef>
        <a:buNone/>
        <a:defRPr sz="2900" b="1" kern="120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69570" indent="-269570" algn="l" defTabSz="913363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539138" indent="-269570" algn="l" defTabSz="913363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−"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808707" indent="-269570" algn="l" defTabSz="913363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−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078275" indent="-269570" algn="l" defTabSz="913363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−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339917" indent="-261645" algn="l" defTabSz="913363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−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1750" indent="-228341" algn="l" defTabSz="913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8432" indent="-228341" algn="l" defTabSz="913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5111" indent="-228341" algn="l" defTabSz="913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1794" indent="-228341" algn="l" defTabSz="913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3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82" algn="l" defTabSz="913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363" algn="l" defTabSz="913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045" algn="l" defTabSz="913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726" algn="l" defTabSz="913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409" algn="l" defTabSz="913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091" algn="l" defTabSz="913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773" algn="l" defTabSz="913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456" algn="l" defTabSz="913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/>
          </p:nvPr>
        </p:nvGraphicFramePr>
        <p:xfrm>
          <a:off x="1615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0" name="think-cell Slide" r:id="rId20" imgW="216" imgH="216" progId="TCLayout.ActiveDocument.1">
                  <p:embed/>
                </p:oleObj>
              </mc:Choice>
              <mc:Fallback>
                <p:oleObj name="think-cell Slide" r:id="rId20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615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11560" y="465672"/>
            <a:ext cx="8075240" cy="539967"/>
          </a:xfrm>
          <a:prstGeom prst="rect">
            <a:avLst/>
          </a:prstGeom>
        </p:spPr>
        <p:txBody>
          <a:bodyPr vert="horz" lIns="91186" tIns="45588" rIns="91186" bIns="45588" rtlCol="0" anchor="b">
            <a:no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11227" y="1059939"/>
            <a:ext cx="8137525" cy="3374082"/>
          </a:xfrm>
          <a:prstGeom prst="rect">
            <a:avLst/>
          </a:prstGeom>
        </p:spPr>
        <p:txBody>
          <a:bodyPr vert="horz" lIns="91186" tIns="45588" rIns="91186" bIns="45588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13" name="Bilde 12" descr="Logo-hvit.png"/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7686" y="4659005"/>
            <a:ext cx="1171312" cy="22459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37210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  <p:sldLayoutId id="2147483837" r:id="rId8"/>
    <p:sldLayoutId id="2147483838" r:id="rId9"/>
    <p:sldLayoutId id="2147483839" r:id="rId10"/>
    <p:sldLayoutId id="2147483840" r:id="rId11"/>
    <p:sldLayoutId id="2147483841" r:id="rId12"/>
    <p:sldLayoutId id="2147483842" r:id="rId13"/>
    <p:sldLayoutId id="2147483843" r:id="rId14"/>
    <p:sldLayoutId id="2147483844" r:id="rId15"/>
    <p:sldLayoutId id="2147483845" r:id="rId16"/>
  </p:sldLayoutIdLst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hf sldNum="0" hdr="0" ftr="0" dt="0"/>
  <p:txStyles>
    <p:titleStyle>
      <a:lvl1pPr algn="l" defTabSz="911848" rtl="0" eaLnBrk="1" latinLnBrk="0" hangingPunct="1">
        <a:spcBef>
          <a:spcPct val="0"/>
        </a:spcBef>
        <a:buNone/>
        <a:defRPr sz="2900" b="1" kern="120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69120" indent="-269120" algn="l" defTabSz="911848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538250" indent="-269120" algn="l" defTabSz="91184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−"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807365" indent="-269120" algn="l" defTabSz="91184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−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076490" indent="-269120" algn="l" defTabSz="91184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−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337697" indent="-261210" algn="l" defTabSz="91184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−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07581" indent="-227963" algn="l" defTabSz="91184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3511" indent="-227963" algn="l" defTabSz="91184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19431" indent="-227963" algn="l" defTabSz="91184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5359" indent="-227963" algn="l" defTabSz="91184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18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921" algn="l" defTabSz="9118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848" algn="l" defTabSz="9118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773" algn="l" defTabSz="9118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699" algn="l" defTabSz="9118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621" algn="l" defTabSz="9118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5548" algn="l" defTabSz="9118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1469" algn="l" defTabSz="9118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7395" algn="l" defTabSz="9118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4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28" name="think-cell Slide" r:id="rId48" imgW="473" imgH="470" progId="TCLayout.ActiveDocument.1">
                  <p:embed/>
                </p:oleObj>
              </mc:Choice>
              <mc:Fallback>
                <p:oleObj name="think-cell Slide" r:id="rId48" imgW="473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Bilde 3"/>
          <p:cNvPicPr>
            <a:picLocks noChangeAspect="1"/>
          </p:cNvPicPr>
          <p:nvPr userDrawn="1"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56"/>
            <a:ext cx="9144000" cy="5141975"/>
          </a:xfrm>
          <a:prstGeom prst="rect">
            <a:avLst/>
          </a:prstGeom>
        </p:spPr>
      </p:pic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80649" y="649083"/>
            <a:ext cx="7980536" cy="42999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80649" y="1369642"/>
            <a:ext cx="7980536" cy="3194504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94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sz="488" dirty="0"/>
          </a:p>
        </p:txBody>
      </p:sp>
    </p:spTree>
    <p:extLst>
      <p:ext uri="{BB962C8B-B14F-4D97-AF65-F5344CB8AC3E}">
        <p14:creationId xmlns:p14="http://schemas.microsoft.com/office/powerpoint/2010/main" val="344724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5" r:id="rId1"/>
    <p:sldLayoutId id="2147483896" r:id="rId2"/>
    <p:sldLayoutId id="2147483897" r:id="rId3"/>
    <p:sldLayoutId id="2147483898" r:id="rId4"/>
    <p:sldLayoutId id="2147483899" r:id="rId5"/>
    <p:sldLayoutId id="2147483900" r:id="rId6"/>
    <p:sldLayoutId id="2147483901" r:id="rId7"/>
    <p:sldLayoutId id="2147483902" r:id="rId8"/>
    <p:sldLayoutId id="2147483903" r:id="rId9"/>
    <p:sldLayoutId id="2147483904" r:id="rId10"/>
    <p:sldLayoutId id="2147483905" r:id="rId11"/>
    <p:sldLayoutId id="2147483906" r:id="rId12"/>
    <p:sldLayoutId id="2147483907" r:id="rId13"/>
    <p:sldLayoutId id="2147483908" r:id="rId14"/>
    <p:sldLayoutId id="2147483909" r:id="rId15"/>
    <p:sldLayoutId id="2147483910" r:id="rId16"/>
    <p:sldLayoutId id="2147483911" r:id="rId17"/>
    <p:sldLayoutId id="2147483912" r:id="rId18"/>
    <p:sldLayoutId id="2147483913" r:id="rId19"/>
    <p:sldLayoutId id="2147483914" r:id="rId20"/>
    <p:sldLayoutId id="2147483915" r:id="rId21"/>
    <p:sldLayoutId id="2147483916" r:id="rId22"/>
    <p:sldLayoutId id="2147483917" r:id="rId23"/>
    <p:sldLayoutId id="2147483918" r:id="rId24"/>
    <p:sldLayoutId id="2147483919" r:id="rId25"/>
    <p:sldLayoutId id="2147483920" r:id="rId26"/>
    <p:sldLayoutId id="2147483921" r:id="rId27"/>
    <p:sldLayoutId id="2147483922" r:id="rId28"/>
    <p:sldLayoutId id="2147483923" r:id="rId29"/>
    <p:sldLayoutId id="2147483924" r:id="rId30"/>
    <p:sldLayoutId id="2147483925" r:id="rId31"/>
    <p:sldLayoutId id="2147483926" r:id="rId32"/>
    <p:sldLayoutId id="2147483927" r:id="rId33"/>
    <p:sldLayoutId id="2147483928" r:id="rId34"/>
    <p:sldLayoutId id="2147483929" r:id="rId35"/>
    <p:sldLayoutId id="2147483930" r:id="rId36"/>
    <p:sldLayoutId id="2147483931" r:id="rId37"/>
    <p:sldLayoutId id="2147483932" r:id="rId38"/>
    <p:sldLayoutId id="2147483933" r:id="rId39"/>
    <p:sldLayoutId id="2147483934" r:id="rId40"/>
    <p:sldLayoutId id="2147483935" r:id="rId41"/>
    <p:sldLayoutId id="2147483936" r:id="rId42"/>
    <p:sldLayoutId id="2147483937" r:id="rId43"/>
    <p:sldLayoutId id="2147483938" r:id="rId44"/>
  </p:sldLayoutIdLst>
  <p:hf hdr="0" dt="0"/>
  <p:txStyles>
    <p:titleStyle>
      <a:lvl1pPr algn="l" defTabSz="685697" rtl="0" eaLnBrk="1" latinLnBrk="0" hangingPunct="1">
        <a:lnSpc>
          <a:spcPct val="100000"/>
        </a:lnSpc>
        <a:spcBef>
          <a:spcPct val="0"/>
        </a:spcBef>
        <a:buNone/>
        <a:defRPr sz="2794" b="1" kern="1200">
          <a:solidFill>
            <a:srgbClr val="707070"/>
          </a:solidFill>
          <a:latin typeface="+mj-lt"/>
          <a:ea typeface="+mj-ea"/>
          <a:cs typeface="+mj-cs"/>
        </a:defRPr>
      </a:lvl1pPr>
    </p:titleStyle>
    <p:bodyStyle>
      <a:lvl1pPr marL="256500" indent="-256500" algn="l" defTabSz="685697" rtl="0" eaLnBrk="1" latinLnBrk="0" hangingPunct="1">
        <a:lnSpc>
          <a:spcPct val="90000"/>
        </a:lnSpc>
        <a:spcBef>
          <a:spcPts val="750"/>
        </a:spcBef>
        <a:buClr>
          <a:srgbClr val="707070"/>
        </a:buClr>
        <a:buFont typeface="Arial" panose="020B0604020202020204" pitchFamily="34" charset="0"/>
        <a:buChar char="•"/>
        <a:defRPr sz="2000" kern="1200">
          <a:solidFill>
            <a:srgbClr val="32374B"/>
          </a:solidFill>
          <a:latin typeface="+mn-lt"/>
          <a:ea typeface="+mn-ea"/>
          <a:cs typeface="+mn-cs"/>
        </a:defRPr>
      </a:lvl1pPr>
      <a:lvl2pPr marL="704850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600" kern="1200">
          <a:solidFill>
            <a:srgbClr val="32374B"/>
          </a:solidFill>
          <a:latin typeface="+mn-lt"/>
          <a:ea typeface="+mn-ea"/>
          <a:cs typeface="+mn-cs"/>
        </a:defRPr>
      </a:lvl2pPr>
      <a:lvl3pPr marL="1009650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3pPr>
      <a:lvl4pPr marL="1309688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4pPr>
      <a:lvl5pPr marL="1647825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5pPr>
      <a:lvl6pPr marL="1885667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516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364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213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49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97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46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94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43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91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940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789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76" name="think-cell Slide" r:id="rId18" imgW="473" imgH="470" progId="TCLayout.ActiveDocument.1">
                  <p:embed/>
                </p:oleObj>
              </mc:Choice>
              <mc:Fallback>
                <p:oleObj name="think-cell Slide" r:id="rId18" imgW="473" imgH="4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611447" y="465766"/>
            <a:ext cx="8075755" cy="5397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2" tIns="45695" rIns="91392" bIns="45695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ittelstil</a:t>
            </a:r>
          </a:p>
        </p:txBody>
      </p:sp>
      <p:sp>
        <p:nvSpPr>
          <p:cNvPr id="1027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611448" y="1060234"/>
            <a:ext cx="8137436" cy="3373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92" tIns="45695" rIns="91392" bIns="4569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altLang="nb-NO"/>
              <a:t>Klikk for å redigere tekststiler i malen</a:t>
            </a:r>
          </a:p>
          <a:p>
            <a:pPr lvl="1"/>
            <a:r>
              <a:rPr lang="nb-NO" altLang="nb-NO"/>
              <a:t>Andre nivå</a:t>
            </a:r>
          </a:p>
          <a:p>
            <a:pPr lvl="2"/>
            <a:r>
              <a:rPr lang="nb-NO" altLang="nb-NO"/>
              <a:t>Tredje nivå</a:t>
            </a:r>
          </a:p>
          <a:p>
            <a:pPr lvl="3"/>
            <a:r>
              <a:rPr lang="nb-NO" altLang="nb-NO"/>
              <a:t>Fjerde nivå</a:t>
            </a:r>
          </a:p>
          <a:p>
            <a:pPr lvl="4"/>
            <a:r>
              <a:rPr lang="nb-NO" alt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1115623" y="4680137"/>
            <a:ext cx="1008352" cy="218803"/>
          </a:xfrm>
          <a:prstGeom prst="rect">
            <a:avLst/>
          </a:prstGeom>
        </p:spPr>
        <p:txBody>
          <a:bodyPr vert="horz" lIns="91392" tIns="45695" rIns="91392" bIns="45695" rtlCol="0" anchor="ctr"/>
          <a:lstStyle>
            <a:lvl1pPr marL="0" algn="l" defTabSz="913908" rtl="0" eaLnBrk="1" fontAlgn="auto" latinLnBrk="0" hangingPunct="1">
              <a:spcBef>
                <a:spcPts val="0"/>
              </a:spcBef>
              <a:spcAft>
                <a:spcPts val="0"/>
              </a:spcAft>
              <a:defRPr lang="nb-NO" sz="120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8B98719E-5409-4C8E-B66E-659639ED8DB4}" type="datetime1">
              <a:rPr lang="en-US"/>
              <a:pPr>
                <a:defRPr/>
              </a:pPr>
              <a:t>9/21/2018</a:t>
            </a:fld>
            <a:endParaRPr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2195490" y="4680137"/>
            <a:ext cx="5184788" cy="218803"/>
          </a:xfrm>
          <a:prstGeom prst="rect">
            <a:avLst/>
          </a:prstGeom>
        </p:spPr>
        <p:txBody>
          <a:bodyPr vert="horz" lIns="91392" tIns="45695" rIns="91392" bIns="45695" rtlCol="0" anchor="ctr"/>
          <a:lstStyle>
            <a:lvl1pPr marL="0" algn="l" defTabSz="913908" rtl="0" eaLnBrk="1" fontAlgn="auto" latinLnBrk="0" hangingPunct="1">
              <a:spcBef>
                <a:spcPts val="0"/>
              </a:spcBef>
              <a:spcAft>
                <a:spcPts val="0"/>
              </a:spcAft>
              <a:defRPr lang="nb-NO" sz="1200" kern="1200">
                <a:solidFill>
                  <a:srgbClr val="32374B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t>  Versjon 8 - 26. november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11447" y="4679328"/>
            <a:ext cx="404950" cy="216389"/>
          </a:xfrm>
          <a:prstGeom prst="rect">
            <a:avLst/>
          </a:prstGeom>
        </p:spPr>
        <p:txBody>
          <a:bodyPr vert="horz" lIns="91392" tIns="45695" rIns="91392" bIns="45695" rtlCol="0" anchor="ctr"/>
          <a:lstStyle>
            <a:lvl1pPr algn="l" defTabSz="913908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32374B"/>
                </a:solidFill>
                <a:latin typeface="Arial"/>
              </a:defRPr>
            </a:lvl1pPr>
          </a:lstStyle>
          <a:p>
            <a:pPr>
              <a:defRPr/>
            </a:pPr>
            <a:fld id="{C080814E-FE92-4644-A70A-4295544AF1B1}" type="slidenum">
              <a:rPr lang="nb-NO"/>
              <a:pPr>
                <a:defRPr/>
              </a:pPr>
              <a:t>‹#›</a:t>
            </a:fld>
            <a:endParaRPr lang="nb-NO"/>
          </a:p>
        </p:txBody>
      </p:sp>
      <p:pic>
        <p:nvPicPr>
          <p:cNvPr id="1031" name="Bilde 12" descr="Logo-hvit.png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8068" y="4659217"/>
            <a:ext cx="1171047" cy="224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20976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  <p:sldLayoutId id="2147483943" r:id="rId4"/>
    <p:sldLayoutId id="2147483944" r:id="rId5"/>
    <p:sldLayoutId id="2147483945" r:id="rId6"/>
    <p:sldLayoutId id="2147483946" r:id="rId7"/>
    <p:sldLayoutId id="2147483947" r:id="rId8"/>
    <p:sldLayoutId id="2147483948" r:id="rId9"/>
    <p:sldLayoutId id="2147483949" r:id="rId10"/>
    <p:sldLayoutId id="2147483950" r:id="rId11"/>
    <p:sldLayoutId id="2147483951" r:id="rId12"/>
    <p:sldLayoutId id="2147483952" r:id="rId13"/>
    <p:sldLayoutId id="2147483953" r:id="rId14"/>
  </p:sldLayoutIdLst>
  <p:hf sldNum="0" hdr="0" ftr="0" dt="0"/>
  <p:txStyles>
    <p:titleStyle>
      <a:lvl1pPr algn="l" defTabSz="912605" rtl="0" eaLnBrk="0" fontAlgn="base" hangingPunct="0">
        <a:spcBef>
          <a:spcPct val="0"/>
        </a:spcBef>
        <a:spcAft>
          <a:spcPct val="0"/>
        </a:spcAft>
        <a:defRPr sz="2900" b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2605" rtl="0" eaLnBrk="0" fontAlgn="base" hangingPunct="0">
        <a:spcBef>
          <a:spcPct val="0"/>
        </a:spcBef>
        <a:spcAft>
          <a:spcPct val="0"/>
        </a:spcAft>
        <a:defRPr sz="2900" b="1">
          <a:solidFill>
            <a:schemeClr val="tx1"/>
          </a:solidFill>
          <a:latin typeface="Arial" charset="0"/>
        </a:defRPr>
      </a:lvl2pPr>
      <a:lvl3pPr algn="l" defTabSz="912605" rtl="0" eaLnBrk="0" fontAlgn="base" hangingPunct="0">
        <a:spcBef>
          <a:spcPct val="0"/>
        </a:spcBef>
        <a:spcAft>
          <a:spcPct val="0"/>
        </a:spcAft>
        <a:defRPr sz="2900" b="1">
          <a:solidFill>
            <a:schemeClr val="tx1"/>
          </a:solidFill>
          <a:latin typeface="Arial" charset="0"/>
        </a:defRPr>
      </a:lvl3pPr>
      <a:lvl4pPr algn="l" defTabSz="912605" rtl="0" eaLnBrk="0" fontAlgn="base" hangingPunct="0">
        <a:spcBef>
          <a:spcPct val="0"/>
        </a:spcBef>
        <a:spcAft>
          <a:spcPct val="0"/>
        </a:spcAft>
        <a:defRPr sz="2900" b="1">
          <a:solidFill>
            <a:schemeClr val="tx1"/>
          </a:solidFill>
          <a:latin typeface="Arial" charset="0"/>
        </a:defRPr>
      </a:lvl4pPr>
      <a:lvl5pPr algn="l" defTabSz="912605" rtl="0" eaLnBrk="0" fontAlgn="base" hangingPunct="0">
        <a:spcBef>
          <a:spcPct val="0"/>
        </a:spcBef>
        <a:spcAft>
          <a:spcPct val="0"/>
        </a:spcAft>
        <a:defRPr sz="2900" b="1">
          <a:solidFill>
            <a:schemeClr val="tx1"/>
          </a:solidFill>
          <a:latin typeface="Arial" charset="0"/>
        </a:defRPr>
      </a:lvl5pPr>
      <a:lvl6pPr marL="247376" algn="l" defTabSz="913061" rtl="0" fontAlgn="base">
        <a:spcBef>
          <a:spcPct val="0"/>
        </a:spcBef>
        <a:spcAft>
          <a:spcPct val="0"/>
        </a:spcAft>
        <a:defRPr sz="2900" b="1">
          <a:solidFill>
            <a:schemeClr val="tx1"/>
          </a:solidFill>
          <a:latin typeface="Arial" charset="0"/>
        </a:defRPr>
      </a:lvl6pPr>
      <a:lvl7pPr marL="494752" algn="l" defTabSz="913061" rtl="0" fontAlgn="base">
        <a:spcBef>
          <a:spcPct val="0"/>
        </a:spcBef>
        <a:spcAft>
          <a:spcPct val="0"/>
        </a:spcAft>
        <a:defRPr sz="2900" b="1">
          <a:solidFill>
            <a:schemeClr val="tx1"/>
          </a:solidFill>
          <a:latin typeface="Arial" charset="0"/>
        </a:defRPr>
      </a:lvl7pPr>
      <a:lvl8pPr marL="742128" algn="l" defTabSz="913061" rtl="0" fontAlgn="base">
        <a:spcBef>
          <a:spcPct val="0"/>
        </a:spcBef>
        <a:spcAft>
          <a:spcPct val="0"/>
        </a:spcAft>
        <a:defRPr sz="2900" b="1">
          <a:solidFill>
            <a:schemeClr val="tx1"/>
          </a:solidFill>
          <a:latin typeface="Arial" charset="0"/>
        </a:defRPr>
      </a:lvl8pPr>
      <a:lvl9pPr marL="989504" algn="l" defTabSz="913061" rtl="0" fontAlgn="base">
        <a:spcBef>
          <a:spcPct val="0"/>
        </a:spcBef>
        <a:spcAft>
          <a:spcPct val="0"/>
        </a:spcAft>
        <a:defRPr sz="2900" b="1">
          <a:solidFill>
            <a:schemeClr val="tx1"/>
          </a:solidFill>
          <a:latin typeface="Arial" charset="0"/>
        </a:defRPr>
      </a:lvl9pPr>
    </p:titleStyle>
    <p:bodyStyle>
      <a:lvl1pPr marL="268970" indent="-268970" algn="l" defTabSz="912605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38797" indent="-268970" algn="l" defTabSz="912605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−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808625" indent="-268970" algn="l" defTabSz="912605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078453" indent="-268970" algn="l" defTabSz="912605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1339688" indent="-260375" algn="l" defTabSz="912605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244" indent="-228477" algn="l" defTabSz="91390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198" indent="-228477" algn="l" defTabSz="91390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153" indent="-228477" algn="l" defTabSz="91390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103" indent="-228477" algn="l" defTabSz="91390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39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52" algn="l" defTabSz="9139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908" algn="l" defTabSz="9139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859" algn="l" defTabSz="9139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811" algn="l" defTabSz="9139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767" algn="l" defTabSz="9139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718" algn="l" defTabSz="9139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673" algn="l" defTabSz="9139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627" algn="l" defTabSz="9139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894" y="805"/>
          <a:ext cx="894" cy="8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23" name="think-cell Slide" r:id="rId19" imgW="216" imgH="216" progId="TCLayout.ActiveDocument.1">
                  <p:embed/>
                </p:oleObj>
              </mc:Choice>
              <mc:Fallback>
                <p:oleObj name="think-cell Slide" r:id="rId19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894" y="805"/>
                        <a:ext cx="894" cy="8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11560" y="465660"/>
            <a:ext cx="8075240" cy="539967"/>
          </a:xfrm>
          <a:prstGeom prst="rect">
            <a:avLst/>
          </a:prstGeom>
        </p:spPr>
        <p:txBody>
          <a:bodyPr vert="horz" lIns="168908" tIns="84454" rIns="168908" bIns="84454" rtlCol="0" anchor="b">
            <a:no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11189" y="1059910"/>
            <a:ext cx="8137525" cy="3374082"/>
          </a:xfrm>
          <a:prstGeom prst="rect">
            <a:avLst/>
          </a:prstGeom>
        </p:spPr>
        <p:txBody>
          <a:bodyPr vert="horz" lIns="168908" tIns="84454" rIns="168908" bIns="84454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1115616" y="4680102"/>
            <a:ext cx="1008112" cy="219233"/>
          </a:xfrm>
          <a:prstGeom prst="rect">
            <a:avLst/>
          </a:prstGeom>
        </p:spPr>
        <p:txBody>
          <a:bodyPr vert="horz" lIns="168908" tIns="84454" rIns="168908" bIns="84454" rtlCol="0" anchor="ctr"/>
          <a:lstStyle>
            <a:lvl1pPr marL="0" algn="l" defTabSz="855857" rtl="0" eaLnBrk="1" latinLnBrk="0" hangingPunct="1">
              <a:defRPr lang="nb-NO" sz="1115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235D578-80E4-40C3-95A4-8D8017088E0D}" type="datetime1">
              <a:rPr lang="nb-NO">
                <a:solidFill>
                  <a:srgbClr val="32374B"/>
                </a:solidFill>
              </a:rPr>
              <a:pPr/>
              <a:t>21.09.2018</a:t>
            </a:fld>
            <a:endParaRPr>
              <a:solidFill>
                <a:srgbClr val="32374B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2195736" y="4680102"/>
            <a:ext cx="5184576" cy="219233"/>
          </a:xfrm>
          <a:prstGeom prst="rect">
            <a:avLst/>
          </a:prstGeom>
        </p:spPr>
        <p:txBody>
          <a:bodyPr vert="horz" lIns="168908" tIns="84454" rIns="168908" bIns="84454" rtlCol="0" anchor="ctr"/>
          <a:lstStyle>
            <a:lvl1pPr marL="0" algn="l" defTabSz="855857" rtl="0" eaLnBrk="1" latinLnBrk="0" hangingPunct="1">
              <a:defRPr lang="nb-NO" sz="1115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>
              <a:solidFill>
                <a:srgbClr val="32374B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11188" y="4679428"/>
            <a:ext cx="405408" cy="216091"/>
          </a:xfrm>
          <a:prstGeom prst="rect">
            <a:avLst/>
          </a:prstGeom>
        </p:spPr>
        <p:txBody>
          <a:bodyPr vert="horz" lIns="168908" tIns="84454" rIns="168908" bIns="84454" rtlCol="0" anchor="ctr"/>
          <a:lstStyle>
            <a:lvl1pPr algn="l">
              <a:defRPr sz="1115">
                <a:solidFill>
                  <a:schemeClr val="tx2"/>
                </a:solidFill>
              </a:defRPr>
            </a:lvl1pPr>
          </a:lstStyle>
          <a:p>
            <a:pPr defTabSz="855857"/>
            <a:fld id="{7B785221-A51B-4371-B866-038075B34EEB}" type="slidenum">
              <a:rPr lang="nb-NO" smtClean="0">
                <a:solidFill>
                  <a:srgbClr val="32374B"/>
                </a:solidFill>
              </a:rPr>
              <a:pPr defTabSz="855857"/>
              <a:t>‹#›</a:t>
            </a:fld>
            <a:endParaRPr lang="nb-NO">
              <a:solidFill>
                <a:srgbClr val="32374B"/>
              </a:solidFill>
            </a:endParaRPr>
          </a:p>
        </p:txBody>
      </p:sp>
      <p:pic>
        <p:nvPicPr>
          <p:cNvPr id="13" name="Bilde 12" descr="Logo-hvit.png"/>
          <p:cNvPicPr>
            <a:picLocks noChangeAspect="1"/>
          </p:cNvPicPr>
          <p:nvPr/>
        </p:nvPicPr>
        <p:blipFill>
          <a:blip r:embed="rId21" cstate="print"/>
          <a:stretch>
            <a:fillRect/>
          </a:stretch>
        </p:blipFill>
        <p:spPr>
          <a:xfrm>
            <a:off x="7617686" y="4659005"/>
            <a:ext cx="1171312" cy="22459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728861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0" r:id="rId1"/>
    <p:sldLayoutId id="2147484001" r:id="rId2"/>
    <p:sldLayoutId id="2147484002" r:id="rId3"/>
    <p:sldLayoutId id="2147484003" r:id="rId4"/>
    <p:sldLayoutId id="2147484004" r:id="rId5"/>
    <p:sldLayoutId id="2147484005" r:id="rId6"/>
    <p:sldLayoutId id="2147484006" r:id="rId7"/>
    <p:sldLayoutId id="2147484007" r:id="rId8"/>
    <p:sldLayoutId id="2147484008" r:id="rId9"/>
    <p:sldLayoutId id="2147484009" r:id="rId10"/>
    <p:sldLayoutId id="2147484010" r:id="rId11"/>
    <p:sldLayoutId id="2147484011" r:id="rId12"/>
    <p:sldLayoutId id="2147484012" r:id="rId13"/>
    <p:sldLayoutId id="2147484013" r:id="rId14"/>
    <p:sldLayoutId id="2147484014" r:id="rId15"/>
  </p:sldLayoutIdLst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hf hdr="0" ftr="0" dt="0"/>
  <p:txStyles>
    <p:titleStyle>
      <a:lvl1pPr algn="l" defTabSz="855857" rtl="0" eaLnBrk="1" latinLnBrk="0" hangingPunct="1">
        <a:spcBef>
          <a:spcPct val="0"/>
        </a:spcBef>
        <a:buNone/>
        <a:defRPr sz="2432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2597" indent="-252597" algn="l" defTabSz="855857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1723" kern="1200">
          <a:solidFill>
            <a:schemeClr val="tx1"/>
          </a:solidFill>
          <a:latin typeface="+mn-lt"/>
          <a:ea typeface="+mn-ea"/>
          <a:cs typeface="+mn-cs"/>
        </a:defRPr>
      </a:lvl1pPr>
      <a:lvl2pPr marL="505193" indent="-252597" algn="l" defTabSz="855857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1723" kern="1200">
          <a:solidFill>
            <a:schemeClr val="tx1"/>
          </a:solidFill>
          <a:latin typeface="+mn-lt"/>
          <a:ea typeface="+mn-ea"/>
          <a:cs typeface="+mn-cs"/>
        </a:defRPr>
      </a:lvl2pPr>
      <a:lvl3pPr marL="757790" indent="-252597" algn="l" defTabSz="855857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1723" kern="1200">
          <a:solidFill>
            <a:schemeClr val="tx1"/>
          </a:solidFill>
          <a:latin typeface="+mn-lt"/>
          <a:ea typeface="+mn-ea"/>
          <a:cs typeface="+mn-cs"/>
        </a:defRPr>
      </a:lvl3pPr>
      <a:lvl4pPr marL="1010386" indent="-252597" algn="l" defTabSz="855857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1723" kern="1200">
          <a:solidFill>
            <a:schemeClr val="tx1"/>
          </a:solidFill>
          <a:latin typeface="+mn-lt"/>
          <a:ea typeface="+mn-ea"/>
          <a:cs typeface="+mn-cs"/>
        </a:defRPr>
      </a:lvl4pPr>
      <a:lvl5pPr marL="1255554" indent="-245168" algn="l" defTabSz="855857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1723" kern="1200">
          <a:solidFill>
            <a:schemeClr val="tx1"/>
          </a:solidFill>
          <a:latin typeface="+mn-lt"/>
          <a:ea typeface="+mn-ea"/>
          <a:cs typeface="+mn-cs"/>
        </a:defRPr>
      </a:lvl5pPr>
      <a:lvl6pPr marL="2353606" indent="-213964" algn="l" defTabSz="855857" rtl="0" eaLnBrk="1" latinLnBrk="0" hangingPunct="1">
        <a:spcBef>
          <a:spcPct val="20000"/>
        </a:spcBef>
        <a:buFont typeface="Arial" pitchFamily="34" charset="0"/>
        <a:buChar char="•"/>
        <a:defRPr sz="1875" kern="1200">
          <a:solidFill>
            <a:schemeClr val="tx1"/>
          </a:solidFill>
          <a:latin typeface="+mn-lt"/>
          <a:ea typeface="+mn-ea"/>
          <a:cs typeface="+mn-cs"/>
        </a:defRPr>
      </a:lvl6pPr>
      <a:lvl7pPr marL="2781534" indent="-213964" algn="l" defTabSz="855857" rtl="0" eaLnBrk="1" latinLnBrk="0" hangingPunct="1">
        <a:spcBef>
          <a:spcPct val="20000"/>
        </a:spcBef>
        <a:buFont typeface="Arial" pitchFamily="34" charset="0"/>
        <a:buChar char="•"/>
        <a:defRPr sz="1875" kern="1200">
          <a:solidFill>
            <a:schemeClr val="tx1"/>
          </a:solidFill>
          <a:latin typeface="+mn-lt"/>
          <a:ea typeface="+mn-ea"/>
          <a:cs typeface="+mn-cs"/>
        </a:defRPr>
      </a:lvl7pPr>
      <a:lvl8pPr marL="3209463" indent="-213964" algn="l" defTabSz="855857" rtl="0" eaLnBrk="1" latinLnBrk="0" hangingPunct="1">
        <a:spcBef>
          <a:spcPct val="20000"/>
        </a:spcBef>
        <a:buFont typeface="Arial" pitchFamily="34" charset="0"/>
        <a:buChar char="•"/>
        <a:defRPr sz="1875" kern="1200">
          <a:solidFill>
            <a:schemeClr val="tx1"/>
          </a:solidFill>
          <a:latin typeface="+mn-lt"/>
          <a:ea typeface="+mn-ea"/>
          <a:cs typeface="+mn-cs"/>
        </a:defRPr>
      </a:lvl8pPr>
      <a:lvl9pPr marL="3637391" indent="-213964" algn="l" defTabSz="855857" rtl="0" eaLnBrk="1" latinLnBrk="0" hangingPunct="1">
        <a:spcBef>
          <a:spcPct val="20000"/>
        </a:spcBef>
        <a:buFont typeface="Arial" pitchFamily="34" charset="0"/>
        <a:buChar char="•"/>
        <a:defRPr sz="187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855857" rtl="0" eaLnBrk="1" latinLnBrk="0" hangingPunct="1">
        <a:defRPr sz="1672" kern="1200">
          <a:solidFill>
            <a:schemeClr val="tx1"/>
          </a:solidFill>
          <a:latin typeface="+mn-lt"/>
          <a:ea typeface="+mn-ea"/>
          <a:cs typeface="+mn-cs"/>
        </a:defRPr>
      </a:lvl1pPr>
      <a:lvl2pPr marL="427928" algn="l" defTabSz="855857" rtl="0" eaLnBrk="1" latinLnBrk="0" hangingPunct="1">
        <a:defRPr sz="1672" kern="1200">
          <a:solidFill>
            <a:schemeClr val="tx1"/>
          </a:solidFill>
          <a:latin typeface="+mn-lt"/>
          <a:ea typeface="+mn-ea"/>
          <a:cs typeface="+mn-cs"/>
        </a:defRPr>
      </a:lvl2pPr>
      <a:lvl3pPr marL="855857" algn="l" defTabSz="855857" rtl="0" eaLnBrk="1" latinLnBrk="0" hangingPunct="1">
        <a:defRPr sz="1672" kern="1200">
          <a:solidFill>
            <a:schemeClr val="tx1"/>
          </a:solidFill>
          <a:latin typeface="+mn-lt"/>
          <a:ea typeface="+mn-ea"/>
          <a:cs typeface="+mn-cs"/>
        </a:defRPr>
      </a:lvl3pPr>
      <a:lvl4pPr marL="1283785" algn="l" defTabSz="855857" rtl="0" eaLnBrk="1" latinLnBrk="0" hangingPunct="1">
        <a:defRPr sz="1672" kern="1200">
          <a:solidFill>
            <a:schemeClr val="tx1"/>
          </a:solidFill>
          <a:latin typeface="+mn-lt"/>
          <a:ea typeface="+mn-ea"/>
          <a:cs typeface="+mn-cs"/>
        </a:defRPr>
      </a:lvl4pPr>
      <a:lvl5pPr marL="1711713" algn="l" defTabSz="855857" rtl="0" eaLnBrk="1" latinLnBrk="0" hangingPunct="1">
        <a:defRPr sz="1672" kern="1200">
          <a:solidFill>
            <a:schemeClr val="tx1"/>
          </a:solidFill>
          <a:latin typeface="+mn-lt"/>
          <a:ea typeface="+mn-ea"/>
          <a:cs typeface="+mn-cs"/>
        </a:defRPr>
      </a:lvl5pPr>
      <a:lvl6pPr marL="2139642" algn="l" defTabSz="855857" rtl="0" eaLnBrk="1" latinLnBrk="0" hangingPunct="1">
        <a:defRPr sz="1672" kern="1200">
          <a:solidFill>
            <a:schemeClr val="tx1"/>
          </a:solidFill>
          <a:latin typeface="+mn-lt"/>
          <a:ea typeface="+mn-ea"/>
          <a:cs typeface="+mn-cs"/>
        </a:defRPr>
      </a:lvl6pPr>
      <a:lvl7pPr marL="2567570" algn="l" defTabSz="855857" rtl="0" eaLnBrk="1" latinLnBrk="0" hangingPunct="1">
        <a:defRPr sz="1672" kern="1200">
          <a:solidFill>
            <a:schemeClr val="tx1"/>
          </a:solidFill>
          <a:latin typeface="+mn-lt"/>
          <a:ea typeface="+mn-ea"/>
          <a:cs typeface="+mn-cs"/>
        </a:defRPr>
      </a:lvl7pPr>
      <a:lvl8pPr marL="2995498" algn="l" defTabSz="855857" rtl="0" eaLnBrk="1" latinLnBrk="0" hangingPunct="1">
        <a:defRPr sz="1672" kern="1200">
          <a:solidFill>
            <a:schemeClr val="tx1"/>
          </a:solidFill>
          <a:latin typeface="+mn-lt"/>
          <a:ea typeface="+mn-ea"/>
          <a:cs typeface="+mn-cs"/>
        </a:defRPr>
      </a:lvl8pPr>
      <a:lvl9pPr marL="3423427" algn="l" defTabSz="855857" rtl="0" eaLnBrk="1" latinLnBrk="0" hangingPunct="1">
        <a:defRPr sz="167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894" y="805"/>
          <a:ext cx="894" cy="8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37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894" y="805"/>
                        <a:ext cx="894" cy="8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Plassholder for tittel 1"/>
          <p:cNvSpPr>
            <a:spLocks noGrp="1"/>
          </p:cNvSpPr>
          <p:nvPr>
            <p:ph type="title"/>
          </p:nvPr>
        </p:nvSpPr>
        <p:spPr bwMode="auto">
          <a:xfrm>
            <a:off x="611448" y="465761"/>
            <a:ext cx="8136000" cy="5397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68889" tIns="84445" rIns="168889" bIns="84445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b-NO" dirty="0"/>
              <a:t>Klikk for å redigere tittelstil</a:t>
            </a:r>
          </a:p>
        </p:txBody>
      </p:sp>
      <p:sp>
        <p:nvSpPr>
          <p:cNvPr id="1027" name="Plassholder for tekst 2"/>
          <p:cNvSpPr>
            <a:spLocks noGrp="1"/>
          </p:cNvSpPr>
          <p:nvPr>
            <p:ph type="body" idx="1"/>
          </p:nvPr>
        </p:nvSpPr>
        <p:spPr bwMode="auto">
          <a:xfrm>
            <a:off x="611449" y="1060231"/>
            <a:ext cx="8137436" cy="33737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68889" tIns="84445" rIns="168889" bIns="8444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1115624" y="4680132"/>
            <a:ext cx="1008352" cy="218802"/>
          </a:xfrm>
          <a:prstGeom prst="rect">
            <a:avLst/>
          </a:prstGeom>
        </p:spPr>
        <p:txBody>
          <a:bodyPr vert="horz" lIns="168889" tIns="84445" rIns="168889" bIns="84445" rtlCol="0" anchor="ctr"/>
          <a:lstStyle>
            <a:lvl1pPr marL="0" algn="l" defTabSz="856099" rtl="0" eaLnBrk="1" fontAlgn="auto" latinLnBrk="0" hangingPunct="1">
              <a:spcBef>
                <a:spcPts val="0"/>
              </a:spcBef>
              <a:spcAft>
                <a:spcPts val="0"/>
              </a:spcAft>
              <a:defRPr lang="nb-NO" sz="1064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7F30B505-5128-4BB6-8610-94C3528B68C7}" type="datetime1">
              <a:rPr lang="nb-NO" smtClean="0">
                <a:solidFill>
                  <a:srgbClr val="32374B"/>
                </a:solidFill>
              </a:rPr>
              <a:pPr>
                <a:defRPr/>
              </a:pPr>
              <a:t>21.09.2018</a:t>
            </a:fld>
            <a:endParaRPr dirty="0">
              <a:solidFill>
                <a:srgbClr val="32374B"/>
              </a:solidFill>
            </a:endParaRPr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2195490" y="4680132"/>
            <a:ext cx="5184788" cy="218802"/>
          </a:xfrm>
          <a:prstGeom prst="rect">
            <a:avLst/>
          </a:prstGeom>
        </p:spPr>
        <p:txBody>
          <a:bodyPr vert="horz" lIns="168889" tIns="84445" rIns="168889" bIns="84445" rtlCol="0" anchor="ctr"/>
          <a:lstStyle>
            <a:lvl1pPr marL="0" algn="l" defTabSz="856099" rtl="0" eaLnBrk="1" fontAlgn="auto" latinLnBrk="0" hangingPunct="1">
              <a:spcBef>
                <a:spcPts val="0"/>
              </a:spcBef>
              <a:spcAft>
                <a:spcPts val="0"/>
              </a:spcAft>
              <a:defRPr lang="nb-NO" sz="1064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dirty="0">
              <a:solidFill>
                <a:srgbClr val="32374B"/>
              </a:solidFill>
            </a:endParaRP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11447" y="4692202"/>
            <a:ext cx="404950" cy="216390"/>
          </a:xfrm>
          <a:prstGeom prst="rect">
            <a:avLst/>
          </a:prstGeom>
        </p:spPr>
        <p:txBody>
          <a:bodyPr vert="horz" lIns="168889" tIns="84445" rIns="168889" bIns="84445" rtlCol="0" anchor="ctr"/>
          <a:lstStyle>
            <a:lvl1pPr algn="l" defTabSz="856099" fontAlgn="auto">
              <a:spcBef>
                <a:spcPts val="0"/>
              </a:spcBef>
              <a:spcAft>
                <a:spcPts val="0"/>
              </a:spcAft>
              <a:defRPr sz="1064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2A6B7285-E0B9-4D50-B558-610DD1424615}" type="slidenum">
              <a:rPr lang="nb-NO" smtClean="0">
                <a:solidFill>
                  <a:srgbClr val="32374B"/>
                </a:solidFill>
              </a:rPr>
              <a:pPr>
                <a:defRPr/>
              </a:pPr>
              <a:t>‹#›</a:t>
            </a:fld>
            <a:endParaRPr lang="nb-NO" dirty="0">
              <a:solidFill>
                <a:srgbClr val="32374B"/>
              </a:solidFill>
            </a:endParaRPr>
          </a:p>
        </p:txBody>
      </p:sp>
      <p:pic>
        <p:nvPicPr>
          <p:cNvPr id="1031" name="Bilde 12" descr="Logo-hvit.png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618064" y="4659217"/>
            <a:ext cx="1171047" cy="2244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05969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0" r:id="rId1"/>
  </p:sldLayoutIdLst>
  <p:hf hdr="0" ftr="0" dt="0"/>
  <p:txStyles>
    <p:titleStyle>
      <a:lvl1pPr algn="l" defTabSz="855305" rtl="0" eaLnBrk="1" fontAlgn="base" hangingPunct="1">
        <a:spcBef>
          <a:spcPct val="0"/>
        </a:spcBef>
        <a:spcAft>
          <a:spcPct val="0"/>
        </a:spcAft>
        <a:defRPr sz="2687" b="1" kern="120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  <a:lvl2pPr algn="l" defTabSz="855305" rtl="0" eaLnBrk="1" fontAlgn="base" hangingPunct="1">
        <a:spcBef>
          <a:spcPct val="0"/>
        </a:spcBef>
        <a:spcAft>
          <a:spcPct val="0"/>
        </a:spcAft>
        <a:defRPr sz="2687" b="1">
          <a:solidFill>
            <a:schemeClr val="tx1"/>
          </a:solidFill>
          <a:latin typeface="DIN-Bold" pitchFamily="2" charset="0"/>
        </a:defRPr>
      </a:lvl2pPr>
      <a:lvl3pPr algn="l" defTabSz="855305" rtl="0" eaLnBrk="1" fontAlgn="base" hangingPunct="1">
        <a:spcBef>
          <a:spcPct val="0"/>
        </a:spcBef>
        <a:spcAft>
          <a:spcPct val="0"/>
        </a:spcAft>
        <a:defRPr sz="2687" b="1">
          <a:solidFill>
            <a:schemeClr val="tx1"/>
          </a:solidFill>
          <a:latin typeface="DIN-Bold" pitchFamily="2" charset="0"/>
        </a:defRPr>
      </a:lvl3pPr>
      <a:lvl4pPr algn="l" defTabSz="855305" rtl="0" eaLnBrk="1" fontAlgn="base" hangingPunct="1">
        <a:spcBef>
          <a:spcPct val="0"/>
        </a:spcBef>
        <a:spcAft>
          <a:spcPct val="0"/>
        </a:spcAft>
        <a:defRPr sz="2687" b="1">
          <a:solidFill>
            <a:schemeClr val="tx1"/>
          </a:solidFill>
          <a:latin typeface="DIN-Bold" pitchFamily="2" charset="0"/>
        </a:defRPr>
      </a:lvl4pPr>
      <a:lvl5pPr algn="l" defTabSz="855305" rtl="0" eaLnBrk="1" fontAlgn="base" hangingPunct="1">
        <a:spcBef>
          <a:spcPct val="0"/>
        </a:spcBef>
        <a:spcAft>
          <a:spcPct val="0"/>
        </a:spcAft>
        <a:defRPr sz="2687" b="1">
          <a:solidFill>
            <a:schemeClr val="tx1"/>
          </a:solidFill>
          <a:latin typeface="DIN-Bold" pitchFamily="2" charset="0"/>
        </a:defRPr>
      </a:lvl5pPr>
      <a:lvl6pPr marL="231729" algn="l" defTabSz="855305" rtl="0" eaLnBrk="1" fontAlgn="base" hangingPunct="1">
        <a:spcBef>
          <a:spcPct val="0"/>
        </a:spcBef>
        <a:spcAft>
          <a:spcPct val="0"/>
        </a:spcAft>
        <a:defRPr sz="2687" b="1">
          <a:solidFill>
            <a:schemeClr val="tx1"/>
          </a:solidFill>
          <a:latin typeface="DIN-Bold" pitchFamily="2" charset="0"/>
        </a:defRPr>
      </a:lvl6pPr>
      <a:lvl7pPr marL="463457" algn="l" defTabSz="855305" rtl="0" eaLnBrk="1" fontAlgn="base" hangingPunct="1">
        <a:spcBef>
          <a:spcPct val="0"/>
        </a:spcBef>
        <a:spcAft>
          <a:spcPct val="0"/>
        </a:spcAft>
        <a:defRPr sz="2687" b="1">
          <a:solidFill>
            <a:schemeClr val="tx1"/>
          </a:solidFill>
          <a:latin typeface="DIN-Bold" pitchFamily="2" charset="0"/>
        </a:defRPr>
      </a:lvl7pPr>
      <a:lvl8pPr marL="695186" algn="l" defTabSz="855305" rtl="0" eaLnBrk="1" fontAlgn="base" hangingPunct="1">
        <a:spcBef>
          <a:spcPct val="0"/>
        </a:spcBef>
        <a:spcAft>
          <a:spcPct val="0"/>
        </a:spcAft>
        <a:defRPr sz="2687" b="1">
          <a:solidFill>
            <a:schemeClr val="tx1"/>
          </a:solidFill>
          <a:latin typeface="DIN-Bold" pitchFamily="2" charset="0"/>
        </a:defRPr>
      </a:lvl8pPr>
      <a:lvl9pPr marL="926914" algn="l" defTabSz="855305" rtl="0" eaLnBrk="1" fontAlgn="base" hangingPunct="1">
        <a:spcBef>
          <a:spcPct val="0"/>
        </a:spcBef>
        <a:spcAft>
          <a:spcPct val="0"/>
        </a:spcAft>
        <a:defRPr sz="2687" b="1">
          <a:solidFill>
            <a:schemeClr val="tx1"/>
          </a:solidFill>
          <a:latin typeface="DIN-Bold" pitchFamily="2" charset="0"/>
        </a:defRPr>
      </a:lvl9pPr>
    </p:titleStyle>
    <p:bodyStyle>
      <a:lvl1pPr marL="252648" indent="-252648" algn="l" defTabSz="855305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723" kern="1200">
          <a:solidFill>
            <a:srgbClr val="32374B"/>
          </a:solidFill>
          <a:latin typeface="+mn-lt"/>
          <a:ea typeface="+mn-ea"/>
          <a:cs typeface="Arial" panose="020B0604020202020204" pitchFamily="34" charset="0"/>
        </a:defRPr>
      </a:lvl1pPr>
      <a:lvl2pPr marL="505298" indent="-252648" algn="l" defTabSz="855305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−"/>
        <a:defRPr sz="1369" kern="1200">
          <a:solidFill>
            <a:srgbClr val="32374B"/>
          </a:solidFill>
          <a:latin typeface="+mn-lt"/>
          <a:ea typeface="+mn-ea"/>
          <a:cs typeface="Arial" panose="020B0604020202020204" pitchFamily="34" charset="0"/>
        </a:defRPr>
      </a:lvl2pPr>
      <a:lvl3pPr marL="757946" indent="-252648" algn="l" defTabSz="855305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−"/>
        <a:defRPr sz="1166" kern="1200">
          <a:solidFill>
            <a:srgbClr val="32374B"/>
          </a:solidFill>
          <a:latin typeface="+mn-lt"/>
          <a:ea typeface="+mn-ea"/>
          <a:cs typeface="Arial" panose="020B0604020202020204" pitchFamily="34" charset="0"/>
        </a:defRPr>
      </a:lvl3pPr>
      <a:lvl4pPr marL="1010595" indent="-252648" algn="l" defTabSz="855305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−"/>
        <a:defRPr sz="1014" kern="1200">
          <a:solidFill>
            <a:srgbClr val="32374B"/>
          </a:solidFill>
          <a:latin typeface="+mn-lt"/>
          <a:ea typeface="+mn-ea"/>
          <a:cs typeface="Arial" panose="020B0604020202020204" pitchFamily="34" charset="0"/>
        </a:defRPr>
      </a:lvl4pPr>
      <a:lvl5pPr marL="1255198" indent="-244603" algn="l" defTabSz="855305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−"/>
        <a:defRPr sz="1014" kern="1200">
          <a:solidFill>
            <a:srgbClr val="32374B"/>
          </a:solidFill>
          <a:latin typeface="+mn-lt"/>
          <a:ea typeface="+mn-ea"/>
          <a:cs typeface="Arial" panose="020B0604020202020204" pitchFamily="34" charset="0"/>
        </a:defRPr>
      </a:lvl5pPr>
      <a:lvl6pPr marL="2354272" indent="-214025" algn="l" defTabSz="856099" rtl="0" eaLnBrk="1" latinLnBrk="0" hangingPunct="1">
        <a:spcBef>
          <a:spcPct val="20000"/>
        </a:spcBef>
        <a:buFont typeface="Arial" pitchFamily="34" charset="0"/>
        <a:buChar char="•"/>
        <a:defRPr sz="1876" kern="1200">
          <a:solidFill>
            <a:schemeClr val="tx1"/>
          </a:solidFill>
          <a:latin typeface="+mn-lt"/>
          <a:ea typeface="+mn-ea"/>
          <a:cs typeface="+mn-cs"/>
        </a:defRPr>
      </a:lvl6pPr>
      <a:lvl7pPr marL="2782321" indent="-214025" algn="l" defTabSz="856099" rtl="0" eaLnBrk="1" latinLnBrk="0" hangingPunct="1">
        <a:spcBef>
          <a:spcPct val="20000"/>
        </a:spcBef>
        <a:buFont typeface="Arial" pitchFamily="34" charset="0"/>
        <a:buChar char="•"/>
        <a:defRPr sz="1876" kern="1200">
          <a:solidFill>
            <a:schemeClr val="tx1"/>
          </a:solidFill>
          <a:latin typeface="+mn-lt"/>
          <a:ea typeface="+mn-ea"/>
          <a:cs typeface="+mn-cs"/>
        </a:defRPr>
      </a:lvl7pPr>
      <a:lvl8pPr marL="3210370" indent="-214025" algn="l" defTabSz="856099" rtl="0" eaLnBrk="1" latinLnBrk="0" hangingPunct="1">
        <a:spcBef>
          <a:spcPct val="20000"/>
        </a:spcBef>
        <a:buFont typeface="Arial" pitchFamily="34" charset="0"/>
        <a:buChar char="•"/>
        <a:defRPr sz="1876" kern="1200">
          <a:solidFill>
            <a:schemeClr val="tx1"/>
          </a:solidFill>
          <a:latin typeface="+mn-lt"/>
          <a:ea typeface="+mn-ea"/>
          <a:cs typeface="+mn-cs"/>
        </a:defRPr>
      </a:lvl8pPr>
      <a:lvl9pPr marL="3638420" indent="-214025" algn="l" defTabSz="856099" rtl="0" eaLnBrk="1" latinLnBrk="0" hangingPunct="1">
        <a:spcBef>
          <a:spcPct val="20000"/>
        </a:spcBef>
        <a:buFont typeface="Arial" pitchFamily="34" charset="0"/>
        <a:buChar char="•"/>
        <a:defRPr sz="187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856099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1pPr>
      <a:lvl2pPr marL="428049" algn="l" defTabSz="856099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2pPr>
      <a:lvl3pPr marL="856099" algn="l" defTabSz="856099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3pPr>
      <a:lvl4pPr marL="1284148" algn="l" defTabSz="856099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4pPr>
      <a:lvl5pPr marL="1712198" algn="l" defTabSz="856099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5pPr>
      <a:lvl6pPr marL="2140247" algn="l" defTabSz="856099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6pPr>
      <a:lvl7pPr marL="2568296" algn="l" defTabSz="856099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7pPr>
      <a:lvl8pPr marL="2996346" algn="l" defTabSz="856099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8pPr>
      <a:lvl9pPr marL="3424395" algn="l" defTabSz="856099" rtl="0" eaLnBrk="1" latinLnBrk="0" hangingPunct="1">
        <a:defRPr sz="172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/>
          </p:nvPr>
        </p:nvGraphicFramePr>
        <p:xfrm>
          <a:off x="1615" y="1193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85" name="think-cell Slide" r:id="rId20" imgW="216" imgH="216" progId="TCLayout.ActiveDocument.1">
                  <p:embed/>
                </p:oleObj>
              </mc:Choice>
              <mc:Fallback>
                <p:oleObj name="think-cell Slide" r:id="rId20" imgW="216" imgH="216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615" y="1193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11560" y="465672"/>
            <a:ext cx="8075240" cy="539967"/>
          </a:xfrm>
          <a:prstGeom prst="rect">
            <a:avLst/>
          </a:prstGeom>
        </p:spPr>
        <p:txBody>
          <a:bodyPr vert="horz" lIns="91186" tIns="45588" rIns="91186" bIns="45588" rtlCol="0" anchor="b">
            <a:no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11227" y="1059939"/>
            <a:ext cx="8137525" cy="3374082"/>
          </a:xfrm>
          <a:prstGeom prst="rect">
            <a:avLst/>
          </a:prstGeom>
        </p:spPr>
        <p:txBody>
          <a:bodyPr vert="horz" lIns="91186" tIns="45588" rIns="91186" bIns="45588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pic>
        <p:nvPicPr>
          <p:cNvPr id="13" name="Bilde 12" descr="Logo-hvit.png"/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7686" y="4659005"/>
            <a:ext cx="1171312" cy="22459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247918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2" r:id="rId1"/>
    <p:sldLayoutId id="2147484023" r:id="rId2"/>
    <p:sldLayoutId id="2147484024" r:id="rId3"/>
    <p:sldLayoutId id="2147484025" r:id="rId4"/>
    <p:sldLayoutId id="2147484026" r:id="rId5"/>
    <p:sldLayoutId id="2147484027" r:id="rId6"/>
    <p:sldLayoutId id="2147484028" r:id="rId7"/>
    <p:sldLayoutId id="2147484029" r:id="rId8"/>
    <p:sldLayoutId id="2147484030" r:id="rId9"/>
    <p:sldLayoutId id="2147484031" r:id="rId10"/>
    <p:sldLayoutId id="2147484032" r:id="rId11"/>
    <p:sldLayoutId id="2147484033" r:id="rId12"/>
    <p:sldLayoutId id="2147484034" r:id="rId13"/>
    <p:sldLayoutId id="2147484035" r:id="rId14"/>
    <p:sldLayoutId id="2147484036" r:id="rId15"/>
    <p:sldLayoutId id="2147484037" r:id="rId16"/>
  </p:sldLayoutIdLst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hf sldNum="0" hdr="0" ftr="0" dt="0"/>
  <p:txStyles>
    <p:titleStyle>
      <a:lvl1pPr algn="l" defTabSz="911848" rtl="0" eaLnBrk="1" latinLnBrk="0" hangingPunct="1">
        <a:spcBef>
          <a:spcPct val="0"/>
        </a:spcBef>
        <a:buNone/>
        <a:defRPr sz="2900" b="1" kern="120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69120" indent="-269120" algn="l" defTabSz="911848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538250" indent="-269120" algn="l" defTabSz="91184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−"/>
        <a:defRPr sz="15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807365" indent="-269120" algn="l" defTabSz="91184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−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076490" indent="-269120" algn="l" defTabSz="91184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−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1337697" indent="-261210" algn="l" defTabSz="911848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−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07581" indent="-227963" algn="l" defTabSz="91184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3511" indent="-227963" algn="l" defTabSz="91184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19431" indent="-227963" algn="l" defTabSz="91184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5359" indent="-227963" algn="l" defTabSz="91184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18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921" algn="l" defTabSz="9118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848" algn="l" defTabSz="9118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773" algn="l" defTabSz="9118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699" algn="l" defTabSz="9118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621" algn="l" defTabSz="9118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5548" algn="l" defTabSz="9118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1469" algn="l" defTabSz="9118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7395" algn="l" defTabSz="91184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0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57" name="think-cell Slide" r:id="rId104" imgW="216" imgH="216" progId="TCLayout.ActiveDocument.1">
                  <p:embed/>
                </p:oleObj>
              </mc:Choice>
              <mc:Fallback>
                <p:oleObj name="think-cell Slide" r:id="rId104" imgW="216" imgH="216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10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80649" y="649083"/>
            <a:ext cx="7980536" cy="42999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80649" y="1369642"/>
            <a:ext cx="7980536" cy="3194504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437005" y="4829059"/>
            <a:ext cx="143644" cy="1068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94">
                <a:solidFill>
                  <a:srgbClr val="32374B"/>
                </a:solidFill>
              </a:defRPr>
            </a:lvl1pPr>
          </a:lstStyle>
          <a:p>
            <a:fld id="{304AD70F-8AF0-406B-B894-62E0F3D04367}" type="slidenum">
              <a:rPr lang="nb-NO" smtClean="0"/>
              <a:pPr/>
              <a:t>‹#›</a:t>
            </a:fld>
            <a:endParaRPr lang="nb-NO" sz="488" dirty="0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579672" y="4829069"/>
            <a:ext cx="6520573" cy="10680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94">
                <a:solidFill>
                  <a:srgbClr val="32374B"/>
                </a:solidFill>
              </a:defRPr>
            </a:lvl1pPr>
          </a:lstStyle>
          <a:p>
            <a:r>
              <a:rPr lang="nb-NO"/>
              <a:t>Bunntekst</a:t>
            </a:r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10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9912" y="4737775"/>
            <a:ext cx="820800" cy="1770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7144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9" r:id="rId1"/>
    <p:sldLayoutId id="2147484040" r:id="rId2"/>
    <p:sldLayoutId id="2147484041" r:id="rId3"/>
    <p:sldLayoutId id="2147484042" r:id="rId4"/>
    <p:sldLayoutId id="2147484043" r:id="rId5"/>
    <p:sldLayoutId id="2147484044" r:id="rId6"/>
    <p:sldLayoutId id="2147484045" r:id="rId7"/>
    <p:sldLayoutId id="2147484046" r:id="rId8"/>
    <p:sldLayoutId id="2147484047" r:id="rId9"/>
    <p:sldLayoutId id="2147484048" r:id="rId10"/>
    <p:sldLayoutId id="2147484049" r:id="rId11"/>
    <p:sldLayoutId id="2147484050" r:id="rId12"/>
    <p:sldLayoutId id="2147484051" r:id="rId13"/>
    <p:sldLayoutId id="2147484052" r:id="rId14"/>
    <p:sldLayoutId id="2147484053" r:id="rId15"/>
    <p:sldLayoutId id="2147484054" r:id="rId16"/>
    <p:sldLayoutId id="2147484055" r:id="rId17"/>
    <p:sldLayoutId id="2147484056" r:id="rId18"/>
    <p:sldLayoutId id="2147484057" r:id="rId19"/>
    <p:sldLayoutId id="2147484058" r:id="rId20"/>
    <p:sldLayoutId id="2147484059" r:id="rId21"/>
    <p:sldLayoutId id="2147484060" r:id="rId22"/>
    <p:sldLayoutId id="2147484061" r:id="rId23"/>
    <p:sldLayoutId id="2147484062" r:id="rId24"/>
    <p:sldLayoutId id="2147484063" r:id="rId25"/>
    <p:sldLayoutId id="2147484064" r:id="rId26"/>
    <p:sldLayoutId id="2147484065" r:id="rId27"/>
    <p:sldLayoutId id="2147484066" r:id="rId28"/>
    <p:sldLayoutId id="2147484067" r:id="rId29"/>
    <p:sldLayoutId id="2147484068" r:id="rId30"/>
    <p:sldLayoutId id="2147484069" r:id="rId31"/>
    <p:sldLayoutId id="2147484070" r:id="rId32"/>
    <p:sldLayoutId id="2147484071" r:id="rId33"/>
    <p:sldLayoutId id="2147484072" r:id="rId34"/>
    <p:sldLayoutId id="2147484073" r:id="rId35"/>
    <p:sldLayoutId id="2147484074" r:id="rId36"/>
    <p:sldLayoutId id="2147484075" r:id="rId37"/>
    <p:sldLayoutId id="2147484076" r:id="rId38"/>
    <p:sldLayoutId id="2147484077" r:id="rId39"/>
    <p:sldLayoutId id="2147484078" r:id="rId40"/>
    <p:sldLayoutId id="2147484079" r:id="rId41"/>
    <p:sldLayoutId id="2147484080" r:id="rId42"/>
    <p:sldLayoutId id="2147484081" r:id="rId43"/>
    <p:sldLayoutId id="2147484082" r:id="rId44"/>
    <p:sldLayoutId id="2147484083" r:id="rId45"/>
    <p:sldLayoutId id="2147484084" r:id="rId46"/>
    <p:sldLayoutId id="2147484085" r:id="rId47"/>
    <p:sldLayoutId id="2147484086" r:id="rId48"/>
    <p:sldLayoutId id="2147484087" r:id="rId49"/>
    <p:sldLayoutId id="2147484088" r:id="rId50"/>
    <p:sldLayoutId id="2147484089" r:id="rId51"/>
    <p:sldLayoutId id="2147484090" r:id="rId52"/>
    <p:sldLayoutId id="2147484091" r:id="rId53"/>
    <p:sldLayoutId id="2147484092" r:id="rId54"/>
    <p:sldLayoutId id="2147484093" r:id="rId55"/>
    <p:sldLayoutId id="2147484094" r:id="rId56"/>
    <p:sldLayoutId id="2147484095" r:id="rId57"/>
    <p:sldLayoutId id="2147484096" r:id="rId58"/>
    <p:sldLayoutId id="2147484097" r:id="rId59"/>
    <p:sldLayoutId id="2147484098" r:id="rId60"/>
    <p:sldLayoutId id="2147484099" r:id="rId61"/>
    <p:sldLayoutId id="2147484100" r:id="rId62"/>
    <p:sldLayoutId id="2147484101" r:id="rId63"/>
    <p:sldLayoutId id="2147484102" r:id="rId64"/>
    <p:sldLayoutId id="2147484103" r:id="rId65"/>
    <p:sldLayoutId id="2147484104" r:id="rId66"/>
    <p:sldLayoutId id="2147484105" r:id="rId67"/>
    <p:sldLayoutId id="2147484106" r:id="rId68"/>
    <p:sldLayoutId id="2147484107" r:id="rId69"/>
    <p:sldLayoutId id="2147484108" r:id="rId70"/>
    <p:sldLayoutId id="2147484109" r:id="rId71"/>
    <p:sldLayoutId id="2147484110" r:id="rId72"/>
    <p:sldLayoutId id="2147484111" r:id="rId73"/>
    <p:sldLayoutId id="2147484112" r:id="rId74"/>
    <p:sldLayoutId id="2147484113" r:id="rId75"/>
    <p:sldLayoutId id="2147484114" r:id="rId76"/>
    <p:sldLayoutId id="2147484115" r:id="rId77"/>
    <p:sldLayoutId id="2147484116" r:id="rId78"/>
    <p:sldLayoutId id="2147484117" r:id="rId79"/>
    <p:sldLayoutId id="2147484118" r:id="rId80"/>
    <p:sldLayoutId id="2147484119" r:id="rId81"/>
    <p:sldLayoutId id="2147484120" r:id="rId82"/>
    <p:sldLayoutId id="2147484121" r:id="rId83"/>
    <p:sldLayoutId id="2147484122" r:id="rId84"/>
    <p:sldLayoutId id="2147484123" r:id="rId85"/>
    <p:sldLayoutId id="2147484124" r:id="rId86"/>
    <p:sldLayoutId id="2147484125" r:id="rId87"/>
    <p:sldLayoutId id="2147484126" r:id="rId88"/>
    <p:sldLayoutId id="2147484127" r:id="rId89"/>
    <p:sldLayoutId id="2147484128" r:id="rId90"/>
    <p:sldLayoutId id="2147484129" r:id="rId91"/>
    <p:sldLayoutId id="2147484130" r:id="rId92"/>
    <p:sldLayoutId id="2147484131" r:id="rId93"/>
    <p:sldLayoutId id="2147484132" r:id="rId94"/>
    <p:sldLayoutId id="2147484133" r:id="rId95"/>
    <p:sldLayoutId id="2147484134" r:id="rId96"/>
    <p:sldLayoutId id="2147484135" r:id="rId97"/>
    <p:sldLayoutId id="2147484136" r:id="rId98"/>
    <p:sldLayoutId id="2147484137" r:id="rId99"/>
    <p:sldLayoutId id="2147484138" r:id="rId100"/>
  </p:sldLayoutIdLst>
  <p:hf sldNum="0" hdr="0" ftr="0" dt="0"/>
  <p:txStyles>
    <p:titleStyle>
      <a:lvl1pPr algn="l" defTabSz="685697" rtl="0" eaLnBrk="1" latinLnBrk="0" hangingPunct="1">
        <a:lnSpc>
          <a:spcPct val="100000"/>
        </a:lnSpc>
        <a:spcBef>
          <a:spcPct val="0"/>
        </a:spcBef>
        <a:buNone/>
        <a:defRPr sz="2794" b="1" kern="1200">
          <a:solidFill>
            <a:srgbClr val="707070"/>
          </a:solidFill>
          <a:latin typeface="+mj-lt"/>
          <a:ea typeface="+mj-ea"/>
          <a:cs typeface="+mj-cs"/>
        </a:defRPr>
      </a:lvl1pPr>
    </p:titleStyle>
    <p:bodyStyle>
      <a:lvl1pPr marL="256500" indent="-256500" algn="l" defTabSz="685697" rtl="0" eaLnBrk="1" latinLnBrk="0" hangingPunct="1">
        <a:lnSpc>
          <a:spcPct val="90000"/>
        </a:lnSpc>
        <a:spcBef>
          <a:spcPts val="750"/>
        </a:spcBef>
        <a:buClr>
          <a:srgbClr val="707070"/>
        </a:buClr>
        <a:buFont typeface="Arial" panose="020B0604020202020204" pitchFamily="34" charset="0"/>
        <a:buChar char="•"/>
        <a:defRPr sz="2000" kern="1200">
          <a:solidFill>
            <a:srgbClr val="32374B"/>
          </a:solidFill>
          <a:latin typeface="+mn-lt"/>
          <a:ea typeface="+mn-ea"/>
          <a:cs typeface="+mn-cs"/>
        </a:defRPr>
      </a:lvl1pPr>
      <a:lvl2pPr marL="704850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600" kern="1200">
          <a:solidFill>
            <a:srgbClr val="32374B"/>
          </a:solidFill>
          <a:latin typeface="+mn-lt"/>
          <a:ea typeface="+mn-ea"/>
          <a:cs typeface="+mn-cs"/>
        </a:defRPr>
      </a:lvl2pPr>
      <a:lvl3pPr marL="1009650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3pPr>
      <a:lvl4pPr marL="1309688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4pPr>
      <a:lvl5pPr marL="1647825" indent="-170855" algn="l" defTabSz="685697" rtl="0" eaLnBrk="1" latinLnBrk="0" hangingPunct="1">
        <a:lnSpc>
          <a:spcPct val="90000"/>
        </a:lnSpc>
        <a:spcBef>
          <a:spcPts val="375"/>
        </a:spcBef>
        <a:buClr>
          <a:srgbClr val="32374B"/>
        </a:buClr>
        <a:buFont typeface="Arial" panose="020B0604020202020204" pitchFamily="34" charset="0"/>
        <a:buChar char="­"/>
        <a:defRPr sz="1250" kern="1200">
          <a:solidFill>
            <a:srgbClr val="32374B"/>
          </a:solidFill>
          <a:latin typeface="+mn-lt"/>
          <a:ea typeface="+mn-ea"/>
          <a:cs typeface="+mn-cs"/>
        </a:defRPr>
      </a:lvl5pPr>
      <a:lvl6pPr marL="1885667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516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364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213" indent="-171424" algn="l" defTabSz="68569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49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697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546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394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243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091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9940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789" algn="l" defTabSz="68569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7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55.emf"/><Relationship Id="rId2" Type="http://schemas.openxmlformats.org/officeDocument/2006/relationships/tags" Target="../tags/tag26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6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55.emf"/><Relationship Id="rId2" Type="http://schemas.openxmlformats.org/officeDocument/2006/relationships/tags" Target="../tags/tag28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6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mailto:bussanbud@ruter.no" TargetMode="External"/><Relationship Id="rId1" Type="http://schemas.openxmlformats.org/officeDocument/2006/relationships/slideLayout" Target="../slideLayouts/slideLayout7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lysbildenummer 4"/>
          <p:cNvSpPr>
            <a:spLocks noGrp="1"/>
          </p:cNvSpPr>
          <p:nvPr>
            <p:ph type="sldNum" sz="quarter" idx="4"/>
          </p:nvPr>
        </p:nvSpPr>
        <p:spPr>
          <a:xfrm>
            <a:off x="-72009" y="51393"/>
            <a:ext cx="0" cy="15389"/>
          </a:xfrm>
        </p:spPr>
        <p:txBody>
          <a:bodyPr/>
          <a:lstStyle/>
          <a:p>
            <a:fld id="{304AD70F-8AF0-406B-B894-62E0F3D04367}" type="slidenum">
              <a:rPr lang="nb-NO" smtClean="0"/>
              <a:pPr/>
              <a:t>1</a:t>
            </a:fld>
            <a:endParaRPr lang="nb-NO" dirty="0"/>
          </a:p>
        </p:txBody>
      </p:sp>
      <p:sp>
        <p:nvSpPr>
          <p:cNvPr id="7" name="Undertittel 3"/>
          <p:cNvSpPr txBox="1">
            <a:spLocks/>
          </p:cNvSpPr>
          <p:nvPr/>
        </p:nvSpPr>
        <p:spPr>
          <a:xfrm>
            <a:off x="391887" y="1142075"/>
            <a:ext cx="8222725" cy="338554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1024059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  <a:defRPr sz="2299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2746" indent="0" algn="ctr" defTabSz="1024059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491" indent="0" algn="ctr" defTabSz="1024059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237" indent="0" algn="ctr" defTabSz="1024059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0983" indent="0" algn="ctr" defTabSz="1024059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3729" indent="0" algn="ctr" defTabSz="1024059" rtl="0" eaLnBrk="1" latinLnBrk="0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6474" indent="0" algn="ctr" defTabSz="1024059" rtl="0" eaLnBrk="1" latinLnBrk="0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399220" indent="0" algn="ctr" defTabSz="1024059" rtl="0" eaLnBrk="1" latinLnBrk="0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1966" indent="0" algn="ctr" defTabSz="1024059" rtl="0" eaLnBrk="1" latinLnBrk="0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3500" b="1" dirty="0"/>
              <a:t>Konkurransen om Buss-tjenester i  Ruters vestregion 2020</a:t>
            </a:r>
          </a:p>
          <a:p>
            <a:endParaRPr lang="nb-NO" sz="3000" i="1" dirty="0"/>
          </a:p>
          <a:p>
            <a:r>
              <a:rPr lang="nb-NO" sz="2000" b="1" dirty="0"/>
              <a:t>Velkommen til dialogkonferanse 24. september 2018</a:t>
            </a:r>
          </a:p>
          <a:p>
            <a:endParaRPr lang="nb-NO" sz="2000" dirty="0"/>
          </a:p>
          <a:p>
            <a:r>
              <a:rPr lang="nb-NO" sz="2000" dirty="0"/>
              <a:t>Hellik Hoff, Innkjøpssjef, Ruter </a:t>
            </a:r>
          </a:p>
          <a:p>
            <a:endParaRPr lang="nb-NO" sz="3500" b="1" dirty="0"/>
          </a:p>
        </p:txBody>
      </p:sp>
    </p:spTree>
    <p:extLst>
      <p:ext uri="{BB962C8B-B14F-4D97-AF65-F5344CB8AC3E}">
        <p14:creationId xmlns:p14="http://schemas.microsoft.com/office/powerpoint/2010/main" val="31694306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Bussanbudet Ruters vestregion 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580648" y="1369641"/>
            <a:ext cx="4373396" cy="3566241"/>
          </a:xfrm>
        </p:spPr>
        <p:txBody>
          <a:bodyPr>
            <a:normAutofit lnSpcReduction="10000"/>
          </a:bodyPr>
          <a:lstStyle/>
          <a:p>
            <a:r>
              <a:rPr lang="nb-NO" dirty="0"/>
              <a:t>Ruters vestregion – Asker, Bærum, Vestre Aker og Røyken/Hurum </a:t>
            </a:r>
          </a:p>
          <a:p>
            <a:r>
              <a:rPr lang="nb-NO" dirty="0"/>
              <a:t>3 kontrakter (i dag 6 kontrakter)</a:t>
            </a:r>
          </a:p>
          <a:p>
            <a:r>
              <a:rPr lang="nb-NO" dirty="0"/>
              <a:t>4 bussanlegg</a:t>
            </a:r>
          </a:p>
          <a:p>
            <a:r>
              <a:rPr lang="nb-NO" dirty="0"/>
              <a:t>Årlig kontraktsverdi, ca. 520 </a:t>
            </a:r>
            <a:r>
              <a:rPr lang="nb-NO" dirty="0" err="1"/>
              <a:t>mill</a:t>
            </a:r>
            <a:r>
              <a:rPr lang="nb-NO" dirty="0"/>
              <a:t> kr</a:t>
            </a:r>
          </a:p>
          <a:p>
            <a:r>
              <a:rPr lang="nb-NO" dirty="0"/>
              <a:t>Årlig produksjon </a:t>
            </a:r>
            <a:r>
              <a:rPr lang="nb-NO" dirty="0" err="1"/>
              <a:t>ca</a:t>
            </a:r>
            <a:r>
              <a:rPr lang="nb-NO" dirty="0"/>
              <a:t> 14 </a:t>
            </a:r>
            <a:r>
              <a:rPr lang="nb-NO" dirty="0" err="1"/>
              <a:t>mill</a:t>
            </a:r>
            <a:r>
              <a:rPr lang="nb-NO" dirty="0"/>
              <a:t> </a:t>
            </a:r>
            <a:r>
              <a:rPr lang="nb-NO" dirty="0" err="1"/>
              <a:t>rutekm</a:t>
            </a:r>
            <a:endParaRPr lang="nb-NO" dirty="0"/>
          </a:p>
          <a:p>
            <a:r>
              <a:rPr lang="nb-NO" dirty="0" err="1"/>
              <a:t>Ca</a:t>
            </a:r>
            <a:r>
              <a:rPr lang="nb-NO" dirty="0"/>
              <a:t> 230 rutesatte busser </a:t>
            </a:r>
          </a:p>
          <a:p>
            <a:r>
              <a:rPr lang="nb-NO" dirty="0" err="1"/>
              <a:t>Ca</a:t>
            </a:r>
            <a:r>
              <a:rPr lang="nb-NO" dirty="0"/>
              <a:t> 30% er utslippsfrie busser</a:t>
            </a:r>
          </a:p>
          <a:p>
            <a:r>
              <a:rPr lang="nb-NO" dirty="0"/>
              <a:t>Opsjon på 10 hydrogenbusser</a:t>
            </a:r>
          </a:p>
          <a:p>
            <a:r>
              <a:rPr lang="nb-NO" dirty="0"/>
              <a:t>Dialogkonferanse 24. september</a:t>
            </a:r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3"/>
          </p:nvPr>
        </p:nvPicPr>
        <p:blipFill>
          <a:blip r:embed="rId2"/>
          <a:stretch>
            <a:fillRect/>
          </a:stretch>
        </p:blipFill>
        <p:spPr>
          <a:xfrm>
            <a:off x="5292248" y="1506815"/>
            <a:ext cx="2981997" cy="276456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04AD70F-8AF0-406B-B894-62E0F3D04367}" type="slidenum">
              <a:rPr lang="nb-NO" smtClean="0"/>
              <a:pPr/>
              <a:t>2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252679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74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nb-NO" sz="2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0880" y="558238"/>
            <a:ext cx="7980536" cy="430887"/>
          </a:xfrm>
        </p:spPr>
        <p:txBody>
          <a:bodyPr/>
          <a:lstStyle/>
          <a:p>
            <a:r>
              <a:rPr lang="nb-NO" sz="2800" dirty="0">
                <a:solidFill>
                  <a:schemeClr val="tx1"/>
                </a:solidFill>
              </a:rPr>
              <a:t>Utkast til tidsplan for Ruters vestregion 2020</a:t>
            </a:r>
            <a:endParaRPr lang="en-US" sz="2800" dirty="0">
              <a:solidFill>
                <a:schemeClr val="tx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48776" y="1369642"/>
            <a:ext cx="6847688" cy="3194504"/>
          </a:xfrm>
        </p:spPr>
        <p:txBody>
          <a:bodyPr/>
          <a:lstStyle/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endParaRPr lang="nb-NO" dirty="0"/>
          </a:p>
          <a:p>
            <a:pPr marL="0" indent="0">
              <a:buNone/>
            </a:pPr>
            <a:endParaRPr lang="en-US" dirty="0"/>
          </a:p>
          <a:p>
            <a:endParaRPr lang="en-US" dirty="0"/>
          </a:p>
        </p:txBody>
      </p:sp>
      <p:graphicFrame>
        <p:nvGraphicFramePr>
          <p:cNvPr id="8" name="Tabell 7"/>
          <p:cNvGraphicFramePr>
            <a:graphicFrameLocks noGrp="1"/>
          </p:cNvGraphicFramePr>
          <p:nvPr>
            <p:extLst/>
          </p:nvPr>
        </p:nvGraphicFramePr>
        <p:xfrm>
          <a:off x="385221" y="1180894"/>
          <a:ext cx="8153464" cy="2914452"/>
        </p:xfrm>
        <a:graphic>
          <a:graphicData uri="http://schemas.openxmlformats.org/drawingml/2006/table">
            <a:tbl>
              <a:tblPr>
                <a:tableStyleId>{F5AB1C69-6EDB-4FF4-983F-18BD219EF322}</a:tableStyleId>
              </a:tblPr>
              <a:tblGrid>
                <a:gridCol w="3706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061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7061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7061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7061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7061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370612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370612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370612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370612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370612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370612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370612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370612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370612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  <a:gridCol w="370612">
                  <a:extLst>
                    <a:ext uri="{9D8B030D-6E8A-4147-A177-3AD203B41FA5}">
                      <a16:colId xmlns:a16="http://schemas.microsoft.com/office/drawing/2014/main" val="20015"/>
                    </a:ext>
                  </a:extLst>
                </a:gridCol>
                <a:gridCol w="2223672">
                  <a:extLst>
                    <a:ext uri="{9D8B030D-6E8A-4147-A177-3AD203B41FA5}">
                      <a16:colId xmlns:a16="http://schemas.microsoft.com/office/drawing/2014/main" val="20016"/>
                    </a:ext>
                  </a:extLst>
                </a:gridCol>
              </a:tblGrid>
              <a:tr h="779526">
                <a:tc>
                  <a:txBody>
                    <a:bodyPr/>
                    <a:lstStyle/>
                    <a:p>
                      <a:pPr algn="ctr" rtl="0" fontAlgn="ctr"/>
                      <a:r>
                        <a:rPr lang="nb-NO" sz="1200" b="1" u="none" strike="noStrike" dirty="0">
                          <a:effectLst/>
                        </a:rPr>
                        <a:t>Feb</a:t>
                      </a:r>
                      <a:endParaRPr lang="nb-NO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34" marR="4534" marT="4534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-NO" sz="1200" b="1" u="none" strike="noStrike" dirty="0">
                          <a:effectLst/>
                        </a:rPr>
                        <a:t>Mars</a:t>
                      </a:r>
                      <a:endParaRPr lang="nb-NO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34" marR="4534" marT="4534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-NO" sz="1200" b="1" u="none" strike="noStrike" dirty="0">
                          <a:effectLst/>
                        </a:rPr>
                        <a:t>April</a:t>
                      </a:r>
                      <a:endParaRPr lang="nb-NO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34" marR="4534" marT="4534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-NO" sz="1200" b="1" u="none" strike="noStrike" dirty="0">
                          <a:effectLst/>
                        </a:rPr>
                        <a:t>Mai</a:t>
                      </a:r>
                      <a:endParaRPr lang="nb-NO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34" marR="4534" marT="4534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-NO" sz="1200" b="1" u="none" strike="noStrike" dirty="0">
                          <a:effectLst/>
                        </a:rPr>
                        <a:t>Juni</a:t>
                      </a:r>
                      <a:endParaRPr lang="nb-NO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34" marR="4534" marT="4534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-NO" sz="1200" b="1" u="none" strike="noStrike" dirty="0">
                          <a:effectLst/>
                        </a:rPr>
                        <a:t>Juli</a:t>
                      </a:r>
                      <a:endParaRPr lang="nb-NO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34" marR="4534" marT="4534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-NO" sz="1200" b="1" u="none" strike="noStrike" dirty="0">
                          <a:effectLst/>
                        </a:rPr>
                        <a:t>Aug</a:t>
                      </a:r>
                      <a:endParaRPr lang="nb-NO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34" marR="4534" marT="4534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-NO" sz="1200" b="1" u="none" strike="noStrike" dirty="0">
                          <a:effectLst/>
                        </a:rPr>
                        <a:t>Sept</a:t>
                      </a:r>
                      <a:endParaRPr lang="nb-NO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34" marR="4534" marT="4534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-NO" sz="1200" b="1" u="none" strike="noStrike" dirty="0">
                          <a:effectLst/>
                        </a:rPr>
                        <a:t>Okt</a:t>
                      </a:r>
                      <a:endParaRPr lang="nb-NO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34" marR="4534" marT="4534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-NO" sz="1200" b="1" u="none" strike="noStrike" dirty="0">
                          <a:effectLst/>
                        </a:rPr>
                        <a:t>Nov</a:t>
                      </a:r>
                      <a:endParaRPr lang="nb-NO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34" marR="4534" marT="4534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-NO" sz="1200" b="1" u="none" strike="noStrike" dirty="0">
                          <a:effectLst/>
                        </a:rPr>
                        <a:t>Des</a:t>
                      </a:r>
                      <a:endParaRPr lang="nb-NO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34" marR="4534" marT="4534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-NO" sz="1200" b="1" u="none" strike="noStrike" dirty="0">
                          <a:effectLst/>
                        </a:rPr>
                        <a:t>Jan</a:t>
                      </a:r>
                      <a:endParaRPr lang="nb-NO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34" marR="4534" marT="4534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-NO" sz="1200" b="1" u="none" strike="noStrike" dirty="0">
                          <a:effectLst/>
                        </a:rPr>
                        <a:t>Feb</a:t>
                      </a:r>
                      <a:endParaRPr lang="nb-NO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34" marR="4534" marT="4534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-NO" sz="1200" b="1" u="none" strike="noStrike" dirty="0">
                          <a:effectLst/>
                        </a:rPr>
                        <a:t>Mars</a:t>
                      </a:r>
                      <a:endParaRPr lang="nb-NO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34" marR="4534" marT="4534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-NO" sz="1200" b="1" u="none" strike="noStrike" dirty="0">
                          <a:effectLst/>
                        </a:rPr>
                        <a:t>April</a:t>
                      </a:r>
                      <a:endParaRPr lang="nb-NO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34" marR="4534" marT="4534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-NO" sz="1200" b="1" u="none" strike="noStrike" dirty="0">
                          <a:effectLst/>
                        </a:rPr>
                        <a:t>Mai</a:t>
                      </a:r>
                      <a:endParaRPr lang="nb-NO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34" marR="4534" marT="4534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b-NO" sz="1200" b="1" u="none" strike="noStrike" dirty="0">
                          <a:effectLst/>
                        </a:rPr>
                        <a:t>Juni 2019 - Juli 2020</a:t>
                      </a:r>
                      <a:endParaRPr lang="nb-NO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34" marR="4534" marT="4534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34926">
                <a:tc>
                  <a:txBody>
                    <a:bodyPr/>
                    <a:lstStyle/>
                    <a:p>
                      <a:pPr algn="ctr" fontAlgn="t"/>
                      <a:r>
                        <a:rPr lang="nb-NO" sz="900" u="none" strike="noStrike" dirty="0">
                          <a:effectLst/>
                        </a:rPr>
                        <a:t> </a:t>
                      </a:r>
                      <a:endParaRPr lang="nb-NO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34" marR="4534" marT="4534" marB="0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 sz="900" u="none" strike="noStrike" dirty="0">
                          <a:effectLst/>
                        </a:rPr>
                        <a:t> </a:t>
                      </a:r>
                      <a:endParaRPr lang="nb-NO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34" marR="4534" marT="4534" marB="0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 sz="900" u="none" strike="noStrike" dirty="0">
                          <a:effectLst/>
                        </a:rPr>
                        <a:t> </a:t>
                      </a:r>
                      <a:endParaRPr lang="nb-NO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34" marR="4534" marT="4534" marB="0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 sz="900" u="none" strike="noStrike">
                          <a:effectLst/>
                        </a:rPr>
                        <a:t> </a:t>
                      </a:r>
                      <a:endParaRPr lang="nb-NO" sz="9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34" marR="4534" marT="4534" marB="0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 sz="900" u="none" strike="noStrike" dirty="0">
                          <a:effectLst/>
                        </a:rPr>
                        <a:t> </a:t>
                      </a:r>
                      <a:endParaRPr lang="nb-NO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34" marR="4534" marT="4534" marB="0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 sz="900" u="none" strike="noStrike" dirty="0">
                          <a:effectLst/>
                        </a:rPr>
                        <a:t> </a:t>
                      </a:r>
                      <a:endParaRPr lang="nb-NO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34" marR="4534" marT="4534" marB="0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 sz="900" u="none" strike="noStrike" dirty="0">
                          <a:effectLst/>
                        </a:rPr>
                        <a:t> </a:t>
                      </a:r>
                      <a:endParaRPr lang="nb-NO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34" marR="4534" marT="4534" marB="0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 sz="900" u="none" strike="noStrike" dirty="0">
                          <a:effectLst/>
                        </a:rPr>
                        <a:t> </a:t>
                      </a:r>
                      <a:endParaRPr lang="nb-NO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34" marR="4534" marT="4534" marB="0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 sz="900" u="none" strike="noStrike" dirty="0">
                          <a:effectLst/>
                        </a:rPr>
                        <a:t> </a:t>
                      </a:r>
                      <a:endParaRPr lang="nb-NO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34" marR="4534" marT="4534" marB="0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 sz="900" u="none" strike="noStrike" dirty="0">
                          <a:effectLst/>
                        </a:rPr>
                        <a:t> </a:t>
                      </a:r>
                      <a:endParaRPr lang="nb-NO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34" marR="4534" marT="4534" marB="0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 sz="900" u="none" strike="noStrike" dirty="0">
                          <a:effectLst/>
                        </a:rPr>
                        <a:t> </a:t>
                      </a:r>
                      <a:endParaRPr lang="nb-NO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34" marR="4534" marT="4534" marB="0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 sz="900" u="none" strike="noStrike" dirty="0">
                          <a:effectLst/>
                        </a:rPr>
                        <a:t> </a:t>
                      </a:r>
                      <a:endParaRPr lang="nb-NO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34" marR="4534" marT="4534" marB="0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 sz="900" u="none" strike="noStrike" dirty="0">
                          <a:effectLst/>
                        </a:rPr>
                        <a:t> </a:t>
                      </a:r>
                      <a:endParaRPr lang="nb-NO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34" marR="4534" marT="4534" marB="0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 sz="900" u="none" strike="noStrike" dirty="0">
                          <a:effectLst/>
                        </a:rPr>
                        <a:t> </a:t>
                      </a:r>
                      <a:endParaRPr lang="nb-NO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34" marR="4534" marT="4534" marB="0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 sz="900" u="none" strike="noStrike" dirty="0">
                          <a:effectLst/>
                        </a:rPr>
                        <a:t> </a:t>
                      </a:r>
                      <a:endParaRPr lang="nb-NO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34" marR="4534" marT="4534" marB="0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 sz="900" u="none" strike="noStrike" dirty="0">
                          <a:effectLst/>
                        </a:rPr>
                        <a:t> </a:t>
                      </a:r>
                      <a:endParaRPr lang="nb-NO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34" marR="4534" marT="4534" marB="0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nb-NO" sz="900" u="none" strike="noStrike" dirty="0">
                          <a:effectLst/>
                        </a:rPr>
                        <a:t> </a:t>
                      </a:r>
                    </a:p>
                    <a:p>
                      <a:pPr algn="ctr" fontAlgn="t"/>
                      <a:r>
                        <a:rPr lang="nb-NO" sz="900" u="none" strike="noStrike" dirty="0">
                          <a:effectLst/>
                        </a:rPr>
                        <a:t> </a:t>
                      </a:r>
                    </a:p>
                    <a:p>
                      <a:pPr algn="ctr" fontAlgn="t"/>
                      <a:r>
                        <a:rPr lang="nb-NO" sz="900" u="none" strike="noStrike" dirty="0">
                          <a:effectLst/>
                        </a:rPr>
                        <a:t> </a:t>
                      </a:r>
                    </a:p>
                    <a:p>
                      <a:pPr algn="ctr" fontAlgn="t"/>
                      <a:r>
                        <a:rPr lang="nb-NO" sz="900" u="none" strike="noStrike" dirty="0">
                          <a:effectLst/>
                        </a:rPr>
                        <a:t> </a:t>
                      </a:r>
                    </a:p>
                    <a:p>
                      <a:pPr algn="ctr" fontAlgn="t"/>
                      <a:r>
                        <a:rPr lang="nb-NO" sz="900" u="none" strike="noStrike" dirty="0">
                          <a:effectLst/>
                        </a:rPr>
                        <a:t> </a:t>
                      </a:r>
                    </a:p>
                    <a:p>
                      <a:pPr algn="ctr" fontAlgn="t"/>
                      <a:r>
                        <a:rPr lang="nb-NO" sz="900" u="none" strike="noStrike" dirty="0">
                          <a:effectLst/>
                        </a:rPr>
                        <a:t> </a:t>
                      </a:r>
                      <a:endParaRPr lang="nb-NO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34" marR="4534" marT="4534" marB="0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1" name="Rektangel 10">
            <a:extLst>
              <a:ext uri="{FF2B5EF4-FFF2-40B4-BE49-F238E27FC236}">
                <a16:creationId xmlns:a16="http://schemas.microsoft.com/office/drawing/2014/main" id="{0B49D22F-E2C4-444B-8A2B-E8A9BB5339CF}"/>
              </a:ext>
            </a:extLst>
          </p:cNvPr>
          <p:cNvSpPr/>
          <p:nvPr/>
        </p:nvSpPr>
        <p:spPr>
          <a:xfrm>
            <a:off x="385229" y="1987892"/>
            <a:ext cx="1709682" cy="981921"/>
          </a:xfrm>
          <a:prstGeom prst="rect">
            <a:avLst/>
          </a:prstGeom>
          <a:solidFill>
            <a:schemeClr val="accent4"/>
          </a:solidFill>
          <a:ln w="381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100" dirty="0"/>
              <a:t>Ruters forprosjekt</a:t>
            </a:r>
          </a:p>
        </p:txBody>
      </p:sp>
      <p:sp>
        <p:nvSpPr>
          <p:cNvPr id="12" name="Rombe 11">
            <a:extLst>
              <a:ext uri="{FF2B5EF4-FFF2-40B4-BE49-F238E27FC236}">
                <a16:creationId xmlns:a16="http://schemas.microsoft.com/office/drawing/2014/main" id="{7E91C146-A46D-42C3-A583-B128F71B8B02}"/>
              </a:ext>
            </a:extLst>
          </p:cNvPr>
          <p:cNvSpPr/>
          <p:nvPr/>
        </p:nvSpPr>
        <p:spPr>
          <a:xfrm>
            <a:off x="1566199" y="3049090"/>
            <a:ext cx="126515" cy="157071"/>
          </a:xfrm>
          <a:prstGeom prst="diamond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799"/>
          </a:p>
        </p:txBody>
      </p:sp>
      <p:sp>
        <p:nvSpPr>
          <p:cNvPr id="16" name="Rektangel 15">
            <a:extLst>
              <a:ext uri="{FF2B5EF4-FFF2-40B4-BE49-F238E27FC236}">
                <a16:creationId xmlns:a16="http://schemas.microsoft.com/office/drawing/2014/main" id="{0B49D22F-E2C4-444B-8A2B-E8A9BB5339CF}"/>
              </a:ext>
            </a:extLst>
          </p:cNvPr>
          <p:cNvSpPr/>
          <p:nvPr/>
        </p:nvSpPr>
        <p:spPr>
          <a:xfrm>
            <a:off x="2105130" y="1987892"/>
            <a:ext cx="1681632" cy="981921"/>
          </a:xfrm>
          <a:prstGeom prst="rect">
            <a:avLst/>
          </a:prstGeom>
          <a:solidFill>
            <a:schemeClr val="accent4"/>
          </a:solidFill>
          <a:ln w="381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 dirty="0"/>
              <a:t>Ruter  utarbeider konkurransegrunnlag</a:t>
            </a:r>
          </a:p>
        </p:txBody>
      </p:sp>
      <p:sp>
        <p:nvSpPr>
          <p:cNvPr id="17" name="Rombe 16">
            <a:extLst>
              <a:ext uri="{FF2B5EF4-FFF2-40B4-BE49-F238E27FC236}">
                <a16:creationId xmlns:a16="http://schemas.microsoft.com/office/drawing/2014/main" id="{7E91C146-A46D-42C3-A583-B128F71B8B02}"/>
              </a:ext>
            </a:extLst>
          </p:cNvPr>
          <p:cNvSpPr/>
          <p:nvPr/>
        </p:nvSpPr>
        <p:spPr>
          <a:xfrm>
            <a:off x="3148107" y="3049090"/>
            <a:ext cx="126515" cy="157071"/>
          </a:xfrm>
          <a:prstGeom prst="diamond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799"/>
          </a:p>
        </p:txBody>
      </p:sp>
      <p:sp>
        <p:nvSpPr>
          <p:cNvPr id="24" name="Rombe 23">
            <a:extLst>
              <a:ext uri="{FF2B5EF4-FFF2-40B4-BE49-F238E27FC236}">
                <a16:creationId xmlns:a16="http://schemas.microsoft.com/office/drawing/2014/main" id="{7E91C146-A46D-42C3-A583-B128F71B8B02}"/>
              </a:ext>
            </a:extLst>
          </p:cNvPr>
          <p:cNvSpPr/>
          <p:nvPr/>
        </p:nvSpPr>
        <p:spPr>
          <a:xfrm>
            <a:off x="3700545" y="3040337"/>
            <a:ext cx="126515" cy="157071"/>
          </a:xfrm>
          <a:prstGeom prst="diamond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799"/>
          </a:p>
        </p:txBody>
      </p:sp>
      <p:sp>
        <p:nvSpPr>
          <p:cNvPr id="26" name="Rektangel 25">
            <a:extLst>
              <a:ext uri="{FF2B5EF4-FFF2-40B4-BE49-F238E27FC236}">
                <a16:creationId xmlns:a16="http://schemas.microsoft.com/office/drawing/2014/main" id="{0B49D22F-E2C4-444B-8A2B-E8A9BB5339CF}"/>
              </a:ext>
            </a:extLst>
          </p:cNvPr>
          <p:cNvSpPr/>
          <p:nvPr/>
        </p:nvSpPr>
        <p:spPr>
          <a:xfrm>
            <a:off x="3786762" y="1987892"/>
            <a:ext cx="965676" cy="981922"/>
          </a:xfrm>
          <a:prstGeom prst="rect">
            <a:avLst/>
          </a:prstGeom>
          <a:solidFill>
            <a:schemeClr val="accent4"/>
          </a:solidFill>
          <a:ln w="381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dirty="0"/>
              <a:t>Tilbyderne jobber med tilbud. Tilbuds-konferanse og anleggs-</a:t>
            </a:r>
          </a:p>
          <a:p>
            <a:pPr algn="ctr"/>
            <a:r>
              <a:rPr lang="nb-NO" sz="900" dirty="0"/>
              <a:t>befaring</a:t>
            </a:r>
          </a:p>
        </p:txBody>
      </p:sp>
      <p:sp>
        <p:nvSpPr>
          <p:cNvPr id="27" name="Rombe 26">
            <a:extLst>
              <a:ext uri="{FF2B5EF4-FFF2-40B4-BE49-F238E27FC236}">
                <a16:creationId xmlns:a16="http://schemas.microsoft.com/office/drawing/2014/main" id="{7E91C146-A46D-42C3-A583-B128F71B8B02}"/>
              </a:ext>
            </a:extLst>
          </p:cNvPr>
          <p:cNvSpPr/>
          <p:nvPr/>
        </p:nvSpPr>
        <p:spPr>
          <a:xfrm>
            <a:off x="4564937" y="3058430"/>
            <a:ext cx="126515" cy="157071"/>
          </a:xfrm>
          <a:prstGeom prst="diamond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799"/>
          </a:p>
        </p:txBody>
      </p:sp>
      <p:sp>
        <p:nvSpPr>
          <p:cNvPr id="29" name="Rektangel 28">
            <a:extLst>
              <a:ext uri="{FF2B5EF4-FFF2-40B4-BE49-F238E27FC236}">
                <a16:creationId xmlns:a16="http://schemas.microsoft.com/office/drawing/2014/main" id="{0AD1FB3D-35C7-4C59-8A72-8B5D865D16F6}"/>
              </a:ext>
            </a:extLst>
          </p:cNvPr>
          <p:cNvSpPr/>
          <p:nvPr/>
        </p:nvSpPr>
        <p:spPr>
          <a:xfrm>
            <a:off x="4749777" y="1987892"/>
            <a:ext cx="934277" cy="981922"/>
          </a:xfrm>
          <a:prstGeom prst="rect">
            <a:avLst/>
          </a:prstGeom>
          <a:solidFill>
            <a:schemeClr val="accent4"/>
          </a:solidFill>
          <a:ln w="381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 dirty="0"/>
              <a:t>Forhandlings-fase </a:t>
            </a:r>
          </a:p>
          <a:p>
            <a:pPr algn="ctr"/>
            <a:r>
              <a:rPr lang="nb-NO" sz="1000" dirty="0"/>
              <a:t>Utvelgelse  </a:t>
            </a:r>
          </a:p>
        </p:txBody>
      </p:sp>
      <p:sp>
        <p:nvSpPr>
          <p:cNvPr id="30" name="Rombe 29">
            <a:extLst>
              <a:ext uri="{FF2B5EF4-FFF2-40B4-BE49-F238E27FC236}">
                <a16:creationId xmlns:a16="http://schemas.microsoft.com/office/drawing/2014/main" id="{7E91C146-A46D-42C3-A583-B128F71B8B02}"/>
              </a:ext>
            </a:extLst>
          </p:cNvPr>
          <p:cNvSpPr/>
          <p:nvPr/>
        </p:nvSpPr>
        <p:spPr>
          <a:xfrm>
            <a:off x="5600468" y="3038025"/>
            <a:ext cx="126515" cy="157071"/>
          </a:xfrm>
          <a:prstGeom prst="diamond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799"/>
          </a:p>
        </p:txBody>
      </p:sp>
      <p:sp>
        <p:nvSpPr>
          <p:cNvPr id="33" name="Rektangel 32">
            <a:extLst>
              <a:ext uri="{FF2B5EF4-FFF2-40B4-BE49-F238E27FC236}">
                <a16:creationId xmlns:a16="http://schemas.microsoft.com/office/drawing/2014/main" id="{0AD1FB3D-35C7-4C59-8A72-8B5D865D16F6}"/>
              </a:ext>
            </a:extLst>
          </p:cNvPr>
          <p:cNvSpPr/>
          <p:nvPr/>
        </p:nvSpPr>
        <p:spPr>
          <a:xfrm>
            <a:off x="5855337" y="1973801"/>
            <a:ext cx="2683348" cy="1019474"/>
          </a:xfrm>
          <a:prstGeom prst="rect">
            <a:avLst/>
          </a:prstGeom>
          <a:solidFill>
            <a:schemeClr val="accent4"/>
          </a:solidFill>
          <a:ln w="381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000" dirty="0"/>
              <a:t>Operatørene og Ruter forbereder oppstart av kjøringen (ruteendring juni/juli 2020)</a:t>
            </a:r>
          </a:p>
        </p:txBody>
      </p:sp>
      <p:sp>
        <p:nvSpPr>
          <p:cNvPr id="7" name="Rectangle 6"/>
          <p:cNvSpPr/>
          <p:nvPr/>
        </p:nvSpPr>
        <p:spPr>
          <a:xfrm>
            <a:off x="953383" y="3187744"/>
            <a:ext cx="1339502" cy="5478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ECD36006-6793-4C9B-88F4-89A8B58EE816}"/>
              </a:ext>
            </a:extLst>
          </p:cNvPr>
          <p:cNvSpPr txBox="1"/>
          <p:nvPr/>
        </p:nvSpPr>
        <p:spPr>
          <a:xfrm>
            <a:off x="980461" y="3187744"/>
            <a:ext cx="133106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dirty="0"/>
              <a:t>Dialogkonferanse</a:t>
            </a:r>
          </a:p>
          <a:p>
            <a:r>
              <a:rPr lang="nb-NO" sz="1000" dirty="0"/>
              <a:t>Nr. 1 om tilbudet og rammer for anbudet</a:t>
            </a:r>
            <a:endParaRPr lang="nb-NO" sz="1100" dirty="0"/>
          </a:p>
        </p:txBody>
      </p:sp>
      <p:sp>
        <p:nvSpPr>
          <p:cNvPr id="34" name="Rectangle 33"/>
          <p:cNvSpPr/>
          <p:nvPr/>
        </p:nvSpPr>
        <p:spPr>
          <a:xfrm>
            <a:off x="2447260" y="3234525"/>
            <a:ext cx="1070214" cy="7155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8" name="TekstSylinder 17">
            <a:extLst>
              <a:ext uri="{FF2B5EF4-FFF2-40B4-BE49-F238E27FC236}">
                <a16:creationId xmlns:a16="http://schemas.microsoft.com/office/drawing/2014/main" id="{ECD36006-6793-4C9B-88F4-89A8B58EE816}"/>
              </a:ext>
            </a:extLst>
          </p:cNvPr>
          <p:cNvSpPr txBox="1"/>
          <p:nvPr/>
        </p:nvSpPr>
        <p:spPr>
          <a:xfrm>
            <a:off x="2408282" y="3238304"/>
            <a:ext cx="1176652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dirty="0"/>
              <a:t>Dialogkonferanse nr. 2 med utkast til KGL + befaring</a:t>
            </a:r>
          </a:p>
          <a:p>
            <a:r>
              <a:rPr lang="nb-NO" sz="1000" dirty="0"/>
              <a:t>av bussanlegg</a:t>
            </a:r>
          </a:p>
          <a:p>
            <a:endParaRPr lang="nb-NO" sz="1100" dirty="0"/>
          </a:p>
        </p:txBody>
      </p:sp>
      <p:sp>
        <p:nvSpPr>
          <p:cNvPr id="9" name="Rectangle 8"/>
          <p:cNvSpPr/>
          <p:nvPr/>
        </p:nvSpPr>
        <p:spPr>
          <a:xfrm>
            <a:off x="3569232" y="3234897"/>
            <a:ext cx="641572" cy="4089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5" name="Rectangle 34"/>
          <p:cNvSpPr/>
          <p:nvPr/>
        </p:nvSpPr>
        <p:spPr>
          <a:xfrm>
            <a:off x="4402868" y="3244871"/>
            <a:ext cx="641572" cy="4089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6" name="Rectangle 35"/>
          <p:cNvSpPr/>
          <p:nvPr/>
        </p:nvSpPr>
        <p:spPr>
          <a:xfrm>
            <a:off x="5352112" y="3224929"/>
            <a:ext cx="623229" cy="5106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1" name="TekstSylinder 30">
            <a:extLst>
              <a:ext uri="{FF2B5EF4-FFF2-40B4-BE49-F238E27FC236}">
                <a16:creationId xmlns:a16="http://schemas.microsoft.com/office/drawing/2014/main" id="{ECD36006-6793-4C9B-88F4-89A8B58EE816}"/>
              </a:ext>
            </a:extLst>
          </p:cNvPr>
          <p:cNvSpPr txBox="1"/>
          <p:nvPr/>
        </p:nvSpPr>
        <p:spPr>
          <a:xfrm>
            <a:off x="5336183" y="3172349"/>
            <a:ext cx="709032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dirty="0"/>
              <a:t>Ruter beslutter tildeling</a:t>
            </a:r>
            <a:endParaRPr lang="nb-NO" sz="1100" dirty="0"/>
          </a:p>
        </p:txBody>
      </p:sp>
      <p:sp>
        <p:nvSpPr>
          <p:cNvPr id="28" name="TekstSylinder 27">
            <a:extLst>
              <a:ext uri="{FF2B5EF4-FFF2-40B4-BE49-F238E27FC236}">
                <a16:creationId xmlns:a16="http://schemas.microsoft.com/office/drawing/2014/main" id="{ECD36006-6793-4C9B-88F4-89A8B58EE816}"/>
              </a:ext>
            </a:extLst>
          </p:cNvPr>
          <p:cNvSpPr txBox="1"/>
          <p:nvPr/>
        </p:nvSpPr>
        <p:spPr>
          <a:xfrm>
            <a:off x="4391148" y="3234525"/>
            <a:ext cx="7090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dirty="0"/>
              <a:t>Tilbuds-frist</a:t>
            </a:r>
            <a:endParaRPr lang="nb-NO" sz="1100" dirty="0"/>
          </a:p>
        </p:txBody>
      </p:sp>
      <p:sp>
        <p:nvSpPr>
          <p:cNvPr id="25" name="TekstSylinder 24">
            <a:extLst>
              <a:ext uri="{FF2B5EF4-FFF2-40B4-BE49-F238E27FC236}">
                <a16:creationId xmlns:a16="http://schemas.microsoft.com/office/drawing/2014/main" id="{ECD36006-6793-4C9B-88F4-89A8B58EE816}"/>
              </a:ext>
            </a:extLst>
          </p:cNvPr>
          <p:cNvSpPr txBox="1"/>
          <p:nvPr/>
        </p:nvSpPr>
        <p:spPr>
          <a:xfrm>
            <a:off x="3517474" y="3234525"/>
            <a:ext cx="7090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dirty="0"/>
              <a:t>Anbuds-</a:t>
            </a:r>
          </a:p>
          <a:p>
            <a:r>
              <a:rPr lang="nb-NO" sz="1000" dirty="0"/>
              <a:t>utlysning</a:t>
            </a:r>
            <a:endParaRPr lang="nb-NO" sz="1100" dirty="0"/>
          </a:p>
        </p:txBody>
      </p:sp>
    </p:spTree>
    <p:extLst>
      <p:ext uri="{BB962C8B-B14F-4D97-AF65-F5344CB8AC3E}">
        <p14:creationId xmlns:p14="http://schemas.microsoft.com/office/powerpoint/2010/main" val="33892276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71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nb-NO" sz="2432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27F86FF-8CBB-49C7-977D-CE59A5CE5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649" y="676943"/>
            <a:ext cx="7980536" cy="374270"/>
          </a:xfrm>
        </p:spPr>
        <p:txBody>
          <a:bodyPr/>
          <a:lstStyle/>
          <a:p>
            <a:r>
              <a:rPr lang="nb-NO" sz="2432" dirty="0">
                <a:solidFill>
                  <a:schemeClr val="tx1"/>
                </a:solidFill>
              </a:rPr>
              <a:t>Hydrogenbussprosjekt – EU-prosjektet JIVE2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E242122B-1D06-46E7-A353-64AE43D567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l" defTabSz="6855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04AD70F-8AF0-406B-B894-62E0F3D04367}" type="slidenum">
              <a:rPr kumimoji="0" lang="nb-NO" sz="700" b="0" i="0" u="none" strike="noStrike" kern="1200" cap="none" spc="0" normalizeH="0" baseline="0" noProof="0" smtClean="0">
                <a:ln>
                  <a:noFill/>
                </a:ln>
                <a:solidFill>
                  <a:srgbClr val="32374B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68552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b-NO" sz="700" b="0" i="0" u="none" strike="noStrike" kern="1200" cap="none" spc="0" normalizeH="0" baseline="0" noProof="0" dirty="0">
              <a:ln>
                <a:noFill/>
              </a:ln>
              <a:solidFill>
                <a:srgbClr val="32374B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Plassholder for innhold 2">
            <a:extLst>
              <a:ext uri="{FF2B5EF4-FFF2-40B4-BE49-F238E27FC236}">
                <a16:creationId xmlns:a16="http://schemas.microsoft.com/office/drawing/2014/main" id="{A576D50D-9A7E-4B76-8530-C7A3130DCF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8827" y="1260480"/>
            <a:ext cx="7980536" cy="3194504"/>
          </a:xfrm>
        </p:spPr>
        <p:txBody>
          <a:bodyPr>
            <a:normAutofit/>
          </a:bodyPr>
          <a:lstStyle/>
          <a:p>
            <a:r>
              <a:rPr lang="nb-NO" sz="1800" dirty="0"/>
              <a:t>Skal understøtte målet om utslippsfri kollektivtransport i 2028 ved å fremskaffe hensiktsmessig utslippsfritt bussmateriell for regionkjøring</a:t>
            </a:r>
          </a:p>
          <a:p>
            <a:r>
              <a:rPr lang="nb-NO" sz="1800" dirty="0"/>
              <a:t>Uttesting av 10 hydrogenbusser på rutepakke 1</a:t>
            </a:r>
          </a:p>
          <a:p>
            <a:r>
              <a:rPr lang="nb-NO" sz="1800" dirty="0"/>
              <a:t>Lagt inn i kontrakten som en opsjon for Ruter</a:t>
            </a:r>
          </a:p>
          <a:p>
            <a:r>
              <a:rPr lang="nb-NO" sz="1800" dirty="0"/>
              <a:t>Ordinær forretningsmodell brukes for å fremme kommersialisering: </a:t>
            </a:r>
          </a:p>
          <a:p>
            <a:pPr lvl="1"/>
            <a:r>
              <a:rPr lang="nb-NO" sz="1800" dirty="0"/>
              <a:t>Operatør kjøper busser og hydrogen </a:t>
            </a:r>
          </a:p>
          <a:p>
            <a:pPr lvl="1"/>
            <a:r>
              <a:rPr lang="nb-NO" sz="1800" dirty="0"/>
              <a:t>Ruter kjøper busser av operatør (</a:t>
            </a:r>
            <a:r>
              <a:rPr lang="nb-NO" sz="1800" dirty="0" err="1"/>
              <a:t>Enova</a:t>
            </a:r>
            <a:r>
              <a:rPr lang="nb-NO" sz="1800" dirty="0"/>
              <a:t>-krav)</a:t>
            </a:r>
          </a:p>
          <a:p>
            <a:r>
              <a:rPr lang="nb-NO" sz="1800" dirty="0"/>
              <a:t>Eget innlegg om Hydrogenbussprosjektet etter lunsj</a:t>
            </a:r>
            <a:endParaRPr lang="nb-NO" sz="1300" dirty="0"/>
          </a:p>
          <a:p>
            <a:pPr marL="0" indent="0">
              <a:buNone/>
            </a:pPr>
            <a:endParaRPr lang="nb-NO" sz="1600" dirty="0"/>
          </a:p>
          <a:p>
            <a:endParaRPr lang="nb-NO" sz="1600" dirty="0"/>
          </a:p>
          <a:p>
            <a:endParaRPr lang="nb-NO" sz="1600" dirty="0"/>
          </a:p>
          <a:p>
            <a:endParaRPr lang="nb-NO" sz="1600" dirty="0"/>
          </a:p>
          <a:p>
            <a:endParaRPr lang="nb-NO" sz="1600" dirty="0"/>
          </a:p>
        </p:txBody>
      </p:sp>
    </p:spTree>
    <p:extLst>
      <p:ext uri="{BB962C8B-B14F-4D97-AF65-F5344CB8AC3E}">
        <p14:creationId xmlns:p14="http://schemas.microsoft.com/office/powerpoint/2010/main" val="35766029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41BC0F9-E868-4E25-8B2C-B11B7A28CA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649" y="308259"/>
            <a:ext cx="7980536" cy="430887"/>
          </a:xfrm>
        </p:spPr>
        <p:txBody>
          <a:bodyPr/>
          <a:lstStyle/>
          <a:p>
            <a:r>
              <a:rPr lang="nb-NO"/>
              <a:t>Praktisk informasjon</a:t>
            </a:r>
            <a:endParaRPr lang="nb-NO" dirty="0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2D273A93-083C-4969-8FC0-C3A19CA674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6850" y="838201"/>
            <a:ext cx="8464550" cy="4210050"/>
          </a:xfrm>
        </p:spPr>
        <p:txBody>
          <a:bodyPr>
            <a:normAutofit/>
          </a:bodyPr>
          <a:lstStyle/>
          <a:p>
            <a:pPr lvl="1"/>
            <a:r>
              <a:rPr lang="nb-NO" sz="2133" dirty="0" err="1"/>
              <a:t>Streaming</a:t>
            </a:r>
            <a:r>
              <a:rPr lang="nb-NO" sz="2133" dirty="0"/>
              <a:t> av konferansen – bruk mikrofon</a:t>
            </a:r>
          </a:p>
          <a:p>
            <a:pPr lvl="1"/>
            <a:r>
              <a:rPr lang="nb-NO" sz="2133" dirty="0"/>
              <a:t>Selskaper som skal holde innlegg gir beskjed til sekretariatet</a:t>
            </a:r>
          </a:p>
          <a:p>
            <a:pPr lvl="1"/>
            <a:r>
              <a:rPr lang="nb-NO" sz="2133" dirty="0"/>
              <a:t>Presentasjoner, spørsmålsliste og referat vil bli tilgjengelige på kollektivanbud.no løpende utover uke 39</a:t>
            </a:r>
          </a:p>
          <a:p>
            <a:pPr lvl="1"/>
            <a:r>
              <a:rPr lang="nb-NO" sz="2133" dirty="0"/>
              <a:t>Enkel lunsj i </a:t>
            </a:r>
            <a:r>
              <a:rPr lang="nb-NO" sz="2133" dirty="0" err="1"/>
              <a:t>minglearealet</a:t>
            </a:r>
            <a:endParaRPr lang="nb-NO" sz="2133" dirty="0"/>
          </a:p>
          <a:p>
            <a:pPr lvl="1"/>
            <a:r>
              <a:rPr lang="nb-NO" sz="2133" dirty="0"/>
              <a:t>Spørsmål til avklaring tas underveis - så langt tiden strekker til</a:t>
            </a:r>
          </a:p>
          <a:p>
            <a:pPr lvl="1"/>
            <a:r>
              <a:rPr lang="nb-NO" dirty="0"/>
              <a:t>Stram tidsplan</a:t>
            </a:r>
          </a:p>
          <a:p>
            <a:pPr lvl="1"/>
            <a:r>
              <a:rPr lang="nb-NO" dirty="0"/>
              <a:t>Frist for skriftlig tilbakemeldinger er 7. oktober, maks 4 A4-sider - sendes til </a:t>
            </a:r>
            <a:r>
              <a:rPr lang="nb-NO" dirty="0">
                <a:hlinkClick r:id="rId2"/>
              </a:rPr>
              <a:t>bussanbud@ruter.no</a:t>
            </a:r>
            <a:r>
              <a:rPr lang="nb-NO" dirty="0"/>
              <a:t> </a:t>
            </a:r>
          </a:p>
          <a:p>
            <a:pPr lvl="1"/>
            <a:r>
              <a:rPr lang="nb-NO" dirty="0"/>
              <a:t>Befaring av 4 bussanlegg 25. september – </a:t>
            </a:r>
            <a:r>
              <a:rPr lang="nb-NO" dirty="0" err="1"/>
              <a:t>ca</a:t>
            </a:r>
            <a:r>
              <a:rPr lang="nb-NO" dirty="0"/>
              <a:t> 55 påmeldte – oppmøte på Oslo bussterminal </a:t>
            </a:r>
            <a:r>
              <a:rPr lang="nb-NO" dirty="0" err="1"/>
              <a:t>kl</a:t>
            </a:r>
            <a:r>
              <a:rPr lang="nb-NO" dirty="0"/>
              <a:t> 08.00 ved plattform 1</a:t>
            </a:r>
          </a:p>
          <a:p>
            <a:pPr lvl="1"/>
            <a:endParaRPr lang="nb-NO" dirty="0"/>
          </a:p>
          <a:p>
            <a:endParaRPr lang="nb-NO" dirty="0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E0ADBC15-71D8-41E8-B6A7-B27D87F48A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04AD70F-8AF0-406B-B894-62E0F3D04367}" type="slidenum">
              <a:rPr lang="nb-NO" smtClean="0"/>
              <a:pPr/>
              <a:t>5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9373956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2031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rOAfh9x0SClT9j6N8U1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LDglv5U06EnDdhVprkn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6gZUHI7U.w1ICioesDW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9ytfy0RSaC9sRroZ9mF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DJkRXRQTWMBeunewkTr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2_Intro hydrogenbussprosjektet sjåfører">
  <a:themeElements>
    <a:clrScheme name="Ruter">
      <a:dk1>
        <a:sysClr val="windowText" lastClr="000000"/>
      </a:dk1>
      <a:lt1>
        <a:srgbClr val="FFFFFF"/>
      </a:lt1>
      <a:dk2>
        <a:srgbClr val="32374B"/>
      </a:dk2>
      <a:lt2>
        <a:srgbClr val="AAAAB4"/>
      </a:lt2>
      <a:accent1>
        <a:srgbClr val="E60000"/>
      </a:accent1>
      <a:accent2>
        <a:srgbClr val="F07800"/>
      </a:accent2>
      <a:accent3>
        <a:srgbClr val="FFC800"/>
      </a:accent3>
      <a:accent4>
        <a:srgbClr val="87B914"/>
      </a:accent4>
      <a:accent5>
        <a:srgbClr val="41BECD"/>
      </a:accent5>
      <a:accent6>
        <a:srgbClr val="6E0A14"/>
      </a:accent6>
      <a:hlink>
        <a:srgbClr val="32374B"/>
      </a:hlink>
      <a:folHlink>
        <a:srgbClr val="AAAAB4"/>
      </a:folHlink>
    </a:clrScheme>
    <a:fontScheme name="Office klassisk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6_Intro hydrogenbussprosjektet sjåfører">
  <a:themeElements>
    <a:clrScheme name="Ruter">
      <a:dk1>
        <a:sysClr val="windowText" lastClr="000000"/>
      </a:dk1>
      <a:lt1>
        <a:srgbClr val="FFFFFF"/>
      </a:lt1>
      <a:dk2>
        <a:srgbClr val="32374B"/>
      </a:dk2>
      <a:lt2>
        <a:srgbClr val="AAAAB4"/>
      </a:lt2>
      <a:accent1>
        <a:srgbClr val="E60000"/>
      </a:accent1>
      <a:accent2>
        <a:srgbClr val="F07800"/>
      </a:accent2>
      <a:accent3>
        <a:srgbClr val="FFC800"/>
      </a:accent3>
      <a:accent4>
        <a:srgbClr val="87B914"/>
      </a:accent4>
      <a:accent5>
        <a:srgbClr val="41BECD"/>
      </a:accent5>
      <a:accent6>
        <a:srgbClr val="6E0A14"/>
      </a:accent6>
      <a:hlink>
        <a:srgbClr val="32374B"/>
      </a:hlink>
      <a:folHlink>
        <a:srgbClr val="AAAAB4"/>
      </a:folHlink>
    </a:clrScheme>
    <a:fontScheme name="Office klassisk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7_Intro hydrogenbussprosjektet sjåfører">
  <a:themeElements>
    <a:clrScheme name="Ruter">
      <a:dk1>
        <a:sysClr val="windowText" lastClr="000000"/>
      </a:dk1>
      <a:lt1>
        <a:srgbClr val="FFFFFF"/>
      </a:lt1>
      <a:dk2>
        <a:srgbClr val="32374B"/>
      </a:dk2>
      <a:lt2>
        <a:srgbClr val="AAAAB4"/>
      </a:lt2>
      <a:accent1>
        <a:srgbClr val="E60000"/>
      </a:accent1>
      <a:accent2>
        <a:srgbClr val="F07800"/>
      </a:accent2>
      <a:accent3>
        <a:srgbClr val="FFC800"/>
      </a:accent3>
      <a:accent4>
        <a:srgbClr val="87B914"/>
      </a:accent4>
      <a:accent5>
        <a:srgbClr val="41BECD"/>
      </a:accent5>
      <a:accent6>
        <a:srgbClr val="6E0A14"/>
      </a:accent6>
      <a:hlink>
        <a:srgbClr val="32374B"/>
      </a:hlink>
      <a:folHlink>
        <a:srgbClr val="AAAAB4"/>
      </a:folHlink>
    </a:clrScheme>
    <a:fontScheme name="Office klassisk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_Ruter_Powerpointmal-WideScreen_4">
  <a:themeElements>
    <a:clrScheme name="Ruter">
      <a:dk1>
        <a:sysClr val="windowText" lastClr="000000"/>
      </a:dk1>
      <a:lt1>
        <a:srgbClr val="FFFFFF"/>
      </a:lt1>
      <a:dk2>
        <a:srgbClr val="32374B"/>
      </a:dk2>
      <a:lt2>
        <a:srgbClr val="AAAAB4"/>
      </a:lt2>
      <a:accent1>
        <a:srgbClr val="E60000"/>
      </a:accent1>
      <a:accent2>
        <a:srgbClr val="F07800"/>
      </a:accent2>
      <a:accent3>
        <a:srgbClr val="FFC800"/>
      </a:accent3>
      <a:accent4>
        <a:srgbClr val="87B914"/>
      </a:accent4>
      <a:accent5>
        <a:srgbClr val="41BECD"/>
      </a:accent5>
      <a:accent6>
        <a:srgbClr val="6E0A14"/>
      </a:accent6>
      <a:hlink>
        <a:srgbClr val="32374B"/>
      </a:hlink>
      <a:folHlink>
        <a:srgbClr val="AAAAB4"/>
      </a:folHlink>
    </a:clrScheme>
    <a:fontScheme name="Office klassisk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8_Intro hydrogenbussprosjektet sjåfører">
  <a:themeElements>
    <a:clrScheme name="Ruter">
      <a:dk1>
        <a:sysClr val="windowText" lastClr="000000"/>
      </a:dk1>
      <a:lt1>
        <a:srgbClr val="FFFFFF"/>
      </a:lt1>
      <a:dk2>
        <a:srgbClr val="32374B"/>
      </a:dk2>
      <a:lt2>
        <a:srgbClr val="AAAAB4"/>
      </a:lt2>
      <a:accent1>
        <a:srgbClr val="E60000"/>
      </a:accent1>
      <a:accent2>
        <a:srgbClr val="F07800"/>
      </a:accent2>
      <a:accent3>
        <a:srgbClr val="FFC800"/>
      </a:accent3>
      <a:accent4>
        <a:srgbClr val="87B914"/>
      </a:accent4>
      <a:accent5>
        <a:srgbClr val="41BECD"/>
      </a:accent5>
      <a:accent6>
        <a:srgbClr val="6E0A14"/>
      </a:accent6>
      <a:hlink>
        <a:srgbClr val="32374B"/>
      </a:hlink>
      <a:folHlink>
        <a:srgbClr val="AAAAB4"/>
      </a:folHlink>
    </a:clrScheme>
    <a:fontScheme name="Office klassisk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Office-tema">
  <a:themeElements>
    <a:clrScheme name="Ruter 2">
      <a:dk1>
        <a:sysClr val="windowText" lastClr="000000"/>
      </a:dk1>
      <a:lt1>
        <a:sysClr val="window" lastClr="FFFFFF"/>
      </a:lt1>
      <a:dk2>
        <a:srgbClr val="F07800"/>
      </a:dk2>
      <a:lt2>
        <a:srgbClr val="E60000"/>
      </a:lt2>
      <a:accent1>
        <a:srgbClr val="41BECD"/>
      </a:accent1>
      <a:accent2>
        <a:srgbClr val="87B914"/>
      </a:accent2>
      <a:accent3>
        <a:srgbClr val="6E0A14"/>
      </a:accent3>
      <a:accent4>
        <a:srgbClr val="32374B"/>
      </a:accent4>
      <a:accent5>
        <a:srgbClr val="FFC800"/>
      </a:accent5>
      <a:accent6>
        <a:srgbClr val="F07800"/>
      </a:accent6>
      <a:hlink>
        <a:srgbClr val="006BB3"/>
      </a:hlink>
      <a:folHlink>
        <a:srgbClr val="32374B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.potx" id="{6E61C7D2-99F2-43F2-82F0-C835CBB6D8AD}" vid="{E0A5ACA2-6563-49ED-8D6D-99058E6DC43C}"/>
    </a:ext>
  </a:extLst>
</a:theme>
</file>

<file path=ppt/theme/theme5.xml><?xml version="1.0" encoding="utf-8"?>
<a:theme xmlns:a="http://schemas.openxmlformats.org/drawingml/2006/main" name="Robert3">
  <a:themeElements>
    <a:clrScheme name="Ruter">
      <a:dk1>
        <a:sysClr val="windowText" lastClr="000000"/>
      </a:dk1>
      <a:lt1>
        <a:srgbClr val="FFFFFF"/>
      </a:lt1>
      <a:dk2>
        <a:srgbClr val="32374B"/>
      </a:dk2>
      <a:lt2>
        <a:srgbClr val="AAAAB4"/>
      </a:lt2>
      <a:accent1>
        <a:srgbClr val="E60000"/>
      </a:accent1>
      <a:accent2>
        <a:srgbClr val="F07800"/>
      </a:accent2>
      <a:accent3>
        <a:srgbClr val="FFC800"/>
      </a:accent3>
      <a:accent4>
        <a:srgbClr val="87B914"/>
      </a:accent4>
      <a:accent5>
        <a:srgbClr val="41BECD"/>
      </a:accent5>
      <a:accent6>
        <a:srgbClr val="6E0A14"/>
      </a:accent6>
      <a:hlink>
        <a:srgbClr val="32374B"/>
      </a:hlink>
      <a:folHlink>
        <a:srgbClr val="AAAAB4"/>
      </a:folHlink>
    </a:clrScheme>
    <a:fontScheme name="Office klassisk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Ruter_Powerpointmal-WideScreen_45_1_28_2">
  <a:themeElements>
    <a:clrScheme name="Ruter">
      <a:dk1>
        <a:sysClr val="windowText" lastClr="000000"/>
      </a:dk1>
      <a:lt1>
        <a:srgbClr val="FFFFFF"/>
      </a:lt1>
      <a:dk2>
        <a:srgbClr val="32374B"/>
      </a:dk2>
      <a:lt2>
        <a:srgbClr val="AAAAB4"/>
      </a:lt2>
      <a:accent1>
        <a:srgbClr val="E60000"/>
      </a:accent1>
      <a:accent2>
        <a:srgbClr val="F07800"/>
      </a:accent2>
      <a:accent3>
        <a:srgbClr val="FFC800"/>
      </a:accent3>
      <a:accent4>
        <a:srgbClr val="87B914"/>
      </a:accent4>
      <a:accent5>
        <a:srgbClr val="41BECD"/>
      </a:accent5>
      <a:accent6>
        <a:srgbClr val="6E0A14"/>
      </a:accent6>
      <a:hlink>
        <a:srgbClr val="32374B"/>
      </a:hlink>
      <a:folHlink>
        <a:srgbClr val="AAAAB4"/>
      </a:folHlink>
    </a:clrScheme>
    <a:fontScheme name="Office klassisk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5_Mal Ø 3">
  <a:themeElements>
    <a:clrScheme name="Ruter">
      <a:dk1>
        <a:sysClr val="windowText" lastClr="000000"/>
      </a:dk1>
      <a:lt1>
        <a:sysClr val="window" lastClr="FFFFFF"/>
      </a:lt1>
      <a:dk2>
        <a:srgbClr val="32374B"/>
      </a:dk2>
      <a:lt2>
        <a:srgbClr val="AAAAB4"/>
      </a:lt2>
      <a:accent1>
        <a:srgbClr val="E60000"/>
      </a:accent1>
      <a:accent2>
        <a:srgbClr val="F07800"/>
      </a:accent2>
      <a:accent3>
        <a:srgbClr val="FFC300"/>
      </a:accent3>
      <a:accent4>
        <a:srgbClr val="41BECD"/>
      </a:accent4>
      <a:accent5>
        <a:srgbClr val="6E0A14"/>
      </a:accent5>
      <a:accent6>
        <a:srgbClr val="78B428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31750">
          <a:solidFill>
            <a:srgbClr val="FF0000"/>
          </a:solidFill>
        </a:ln>
      </a:spPr>
      <a:bodyPr rtlCol="0" anchor="t"/>
      <a:lstStyle>
        <a:defPPr algn="ctr">
          <a:spcAft>
            <a:spcPts val="1200"/>
          </a:spcAft>
          <a:defRPr u="sng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8.xml><?xml version="1.0" encoding="utf-8"?>
<a:theme xmlns:a="http://schemas.openxmlformats.org/drawingml/2006/main" name="12_Intro hydrogenbussprosjektet sjåfører">
  <a:themeElements>
    <a:clrScheme name="Ruter">
      <a:dk1>
        <a:sysClr val="windowText" lastClr="000000"/>
      </a:dk1>
      <a:lt1>
        <a:srgbClr val="FFFFFF"/>
      </a:lt1>
      <a:dk2>
        <a:srgbClr val="32374B"/>
      </a:dk2>
      <a:lt2>
        <a:srgbClr val="AAAAB4"/>
      </a:lt2>
      <a:accent1>
        <a:srgbClr val="E60000"/>
      </a:accent1>
      <a:accent2>
        <a:srgbClr val="F07800"/>
      </a:accent2>
      <a:accent3>
        <a:srgbClr val="FFC800"/>
      </a:accent3>
      <a:accent4>
        <a:srgbClr val="87B914"/>
      </a:accent4>
      <a:accent5>
        <a:srgbClr val="41BECD"/>
      </a:accent5>
      <a:accent6>
        <a:srgbClr val="6E0A14"/>
      </a:accent6>
      <a:hlink>
        <a:srgbClr val="32374B"/>
      </a:hlink>
      <a:folHlink>
        <a:srgbClr val="AAAAB4"/>
      </a:folHlink>
    </a:clrScheme>
    <a:fontScheme name="Office klassisk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1_Office-tema">
  <a:themeElements>
    <a:clrScheme name="Ruter 2">
      <a:dk1>
        <a:sysClr val="windowText" lastClr="000000"/>
      </a:dk1>
      <a:lt1>
        <a:sysClr val="window" lastClr="FFFFFF"/>
      </a:lt1>
      <a:dk2>
        <a:srgbClr val="F07800"/>
      </a:dk2>
      <a:lt2>
        <a:srgbClr val="E60000"/>
      </a:lt2>
      <a:accent1>
        <a:srgbClr val="41BECD"/>
      </a:accent1>
      <a:accent2>
        <a:srgbClr val="87B914"/>
      </a:accent2>
      <a:accent3>
        <a:srgbClr val="6E0A14"/>
      </a:accent3>
      <a:accent4>
        <a:srgbClr val="32374B"/>
      </a:accent4>
      <a:accent5>
        <a:srgbClr val="FFC800"/>
      </a:accent5>
      <a:accent6>
        <a:srgbClr val="F07800"/>
      </a:accent6>
      <a:hlink>
        <a:srgbClr val="006BB3"/>
      </a:hlink>
      <a:folHlink>
        <a:srgbClr val="32374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.potx" id="{2237E53A-3CFD-43F4-A0D8-CDDA43AEAE2B}" vid="{BDECE72D-470A-4082-A783-5114E363D007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</Template>
  <TotalTime>5235</TotalTime>
  <Words>325</Words>
  <Application>Microsoft Office PowerPoint</Application>
  <PresentationFormat>Egendefinert</PresentationFormat>
  <Paragraphs>99</Paragraphs>
  <Slides>6</Slides>
  <Notes>3</Notes>
  <HiddenSlides>0</HiddenSlides>
  <MMClips>0</MMClips>
  <ScaleCrop>false</ScaleCrop>
  <HeadingPairs>
    <vt:vector size="8" baseType="variant">
      <vt:variant>
        <vt:lpstr>Brukte skrifter</vt:lpstr>
      </vt:variant>
      <vt:variant>
        <vt:i4>9</vt:i4>
      </vt:variant>
      <vt:variant>
        <vt:lpstr>Tema</vt:lpstr>
      </vt:variant>
      <vt:variant>
        <vt:i4>1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6</vt:i4>
      </vt:variant>
    </vt:vector>
  </HeadingPairs>
  <TitlesOfParts>
    <vt:vector size="27" baseType="lpstr">
      <vt:lpstr>SimSun</vt:lpstr>
      <vt:lpstr>Arial</vt:lpstr>
      <vt:lpstr>Calibri</vt:lpstr>
      <vt:lpstr>DIN-Bold</vt:lpstr>
      <vt:lpstr>DIN-Regular</vt:lpstr>
      <vt:lpstr>Georgia</vt:lpstr>
      <vt:lpstr>Times New Roman</vt:lpstr>
      <vt:lpstr>Wingdings</vt:lpstr>
      <vt:lpstr>Wingdings 2</vt:lpstr>
      <vt:lpstr>22_Intro hydrogenbussprosjektet sjåfører</vt:lpstr>
      <vt:lpstr>5_Ruter_Powerpointmal-WideScreen_4</vt:lpstr>
      <vt:lpstr>8_Intro hydrogenbussprosjektet sjåfører</vt:lpstr>
      <vt:lpstr>3_Office-tema</vt:lpstr>
      <vt:lpstr>Robert3</vt:lpstr>
      <vt:lpstr>Ruter_Powerpointmal-WideScreen_45_1_28_2</vt:lpstr>
      <vt:lpstr>5_Mal Ø 3</vt:lpstr>
      <vt:lpstr>12_Intro hydrogenbussprosjektet sjåfører</vt:lpstr>
      <vt:lpstr>1_Office-tema</vt:lpstr>
      <vt:lpstr>6_Intro hydrogenbussprosjektet sjåfører</vt:lpstr>
      <vt:lpstr>7_Intro hydrogenbussprosjektet sjåfører</vt:lpstr>
      <vt:lpstr>think-cell Slide</vt:lpstr>
      <vt:lpstr>PowerPoint-presentasjon</vt:lpstr>
      <vt:lpstr>Bussanbudet Ruters vestregion </vt:lpstr>
      <vt:lpstr>Utkast til tidsplan for Ruters vestregion 2020</vt:lpstr>
      <vt:lpstr>Hydrogenbussprosjekt – EU-prosjektet JIVE2</vt:lpstr>
      <vt:lpstr>Praktisk informasjon</vt:lpstr>
      <vt:lpstr>PowerPoint-presentasjon</vt:lpstr>
    </vt:vector>
  </TitlesOfParts>
  <Company>Ruter #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Angelvik Endre</dc:creator>
  <dc:description>Template by addpoint.no</dc:description>
  <cp:lastModifiedBy>Hoff Hellik</cp:lastModifiedBy>
  <cp:revision>164</cp:revision>
  <cp:lastPrinted>2017-05-16T12:20:14Z</cp:lastPrinted>
  <dcterms:created xsi:type="dcterms:W3CDTF">2016-08-11T20:13:54Z</dcterms:created>
  <dcterms:modified xsi:type="dcterms:W3CDTF">2018-09-21T13:09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 by">
    <vt:lpwstr>addpoint.no</vt:lpwstr>
  </property>
</Properties>
</file>